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8.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ink/ink1.xml" ContentType="application/inkml+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9" r:id="rId1"/>
    <p:sldMasterId id="2147483868" r:id="rId2"/>
    <p:sldMasterId id="2147483881" r:id="rId3"/>
    <p:sldMasterId id="2147483893" r:id="rId4"/>
    <p:sldMasterId id="2147483870" r:id="rId5"/>
    <p:sldMasterId id="2147483865" r:id="rId6"/>
    <p:sldMasterId id="2147483914" r:id="rId7"/>
    <p:sldMasterId id="2147483916" r:id="rId8"/>
    <p:sldMasterId id="2147483923" r:id="rId9"/>
  </p:sldMasterIdLst>
  <p:notesMasterIdLst>
    <p:notesMasterId r:id="rId23"/>
  </p:notesMasterIdLst>
  <p:handoutMasterIdLst>
    <p:handoutMasterId r:id="rId24"/>
  </p:handoutMasterIdLst>
  <p:sldIdLst>
    <p:sldId id="256" r:id="rId10"/>
    <p:sldId id="260" r:id="rId11"/>
    <p:sldId id="371" r:id="rId12"/>
    <p:sldId id="279" r:id="rId13"/>
    <p:sldId id="287" r:id="rId14"/>
    <p:sldId id="280" r:id="rId15"/>
    <p:sldId id="2147474318" r:id="rId16"/>
    <p:sldId id="2147474319" r:id="rId17"/>
    <p:sldId id="399" r:id="rId18"/>
    <p:sldId id="2147474320" r:id="rId19"/>
    <p:sldId id="2147474321" r:id="rId20"/>
    <p:sldId id="2147474322" r:id="rId21"/>
    <p:sldId id="405"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urer, Shawn P" initials="MSP [2]" lastIdx="9" clrIdx="6">
    <p:extLst>
      <p:ext uri="{19B8F6BF-5375-455C-9EA6-DF929625EA0E}">
        <p15:presenceInfo xmlns:p15="http://schemas.microsoft.com/office/powerpoint/2012/main" userId="S::spmaurer@illinois.edu::08543ae9-4c5f-4e4e-a99b-937fb28e30d5" providerId="AD"/>
      </p:ext>
    </p:extLst>
  </p:cmAuthor>
  <p:cmAuthor id="1" name="Zeng, Lixian" initials="ZL" lastIdx="1" clrIdx="0">
    <p:extLst>
      <p:ext uri="{19B8F6BF-5375-455C-9EA6-DF929625EA0E}">
        <p15:presenceInfo xmlns:p15="http://schemas.microsoft.com/office/powerpoint/2012/main" userId="S-1-5-21-2509641344-1052565914-3260824488-2052939" providerId="AD"/>
      </p:ext>
    </p:extLst>
  </p:cmAuthor>
  <p:cmAuthor id="2" name="Jane McClintock" initials="Jane" lastIdx="20" clrIdx="1">
    <p:extLst>
      <p:ext uri="{19B8F6BF-5375-455C-9EA6-DF929625EA0E}">
        <p15:presenceInfo xmlns:p15="http://schemas.microsoft.com/office/powerpoint/2012/main" userId="Jane McClintock" providerId="None"/>
      </p:ext>
    </p:extLst>
  </p:cmAuthor>
  <p:cmAuthor id="3" name="Carroll, Cassandra Leah" initials="CCL" lastIdx="14" clrIdx="2">
    <p:extLst>
      <p:ext uri="{19B8F6BF-5375-455C-9EA6-DF929625EA0E}">
        <p15:presenceInfo xmlns:p15="http://schemas.microsoft.com/office/powerpoint/2012/main" userId="S::ccarrol2@illinois.edu::bb3af255-e2a6-4117-8a7f-6a77d604feb6" providerId="AD"/>
      </p:ext>
    </p:extLst>
  </p:cmAuthor>
  <p:cmAuthor id="4" name="Ahn, Hannah" initials="AH" lastIdx="21" clrIdx="3">
    <p:extLst>
      <p:ext uri="{19B8F6BF-5375-455C-9EA6-DF929625EA0E}">
        <p15:presenceInfo xmlns:p15="http://schemas.microsoft.com/office/powerpoint/2012/main" userId="S::hahn28@illinois.edu::8f9bed45-6d25-4280-8763-01b4431ad254" providerId="AD"/>
      </p:ext>
    </p:extLst>
  </p:cmAuthor>
  <p:cmAuthor id="5" name="Maurer, Shawn P" initials="MSP" lastIdx="4" clrIdx="4">
    <p:extLst>
      <p:ext uri="{19B8F6BF-5375-455C-9EA6-DF929625EA0E}">
        <p15:presenceInfo xmlns:p15="http://schemas.microsoft.com/office/powerpoint/2012/main" userId="Maurer, Shawn P" providerId="None"/>
      </p:ext>
    </p:extLst>
  </p:cmAuthor>
  <p:cmAuthor id="6" name="Samantula, Charumeghana" initials="SC" lastIdx="1" clrIdx="5">
    <p:extLst>
      <p:ext uri="{19B8F6BF-5375-455C-9EA6-DF929625EA0E}">
        <p15:presenceInfo xmlns:p15="http://schemas.microsoft.com/office/powerpoint/2012/main" userId="S::charus20@illinois.edu::db4dc6e0-9587-4979-aba3-d443a40cf4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7E7D"/>
    <a:srgbClr val="E9F3F2"/>
    <a:srgbClr val="818C8C"/>
    <a:srgbClr val="EAF3F4"/>
    <a:srgbClr val="5D74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72" autoAdjust="0"/>
    <p:restoredTop sz="73734" autoAdjust="0"/>
  </p:normalViewPr>
  <p:slideViewPr>
    <p:cSldViewPr snapToGrid="0">
      <p:cViewPr varScale="1">
        <p:scale>
          <a:sx n="79" d="100"/>
          <a:sy n="79" d="100"/>
        </p:scale>
        <p:origin x="1248"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 d="1"/>
        <a:sy n="1" d="1"/>
      </p:scale>
      <p:origin x="0" y="-2796"/>
    </p:cViewPr>
  </p:sorterViewPr>
  <p:notesViewPr>
    <p:cSldViewPr snapToGrid="0" showGuides="1">
      <p:cViewPr varScale="1">
        <p:scale>
          <a:sx n="73" d="100"/>
          <a:sy n="73" d="100"/>
        </p:scale>
        <p:origin x="3437" y="5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8384C37-3927-4061-9161-A88F3DBB90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5EB88A7-F2E8-43B7-84BB-30C6950BDF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F54C526-4153-487E-9820-287A0201E58B}" type="datetimeFigureOut">
              <a:rPr lang="en-US" smtClean="0"/>
              <a:t>4/18/2024</a:t>
            </a:fld>
            <a:endParaRPr lang="en-US"/>
          </a:p>
        </p:txBody>
      </p:sp>
      <p:sp>
        <p:nvSpPr>
          <p:cNvPr id="4" name="Footer Placeholder 3">
            <a:extLst>
              <a:ext uri="{FF2B5EF4-FFF2-40B4-BE49-F238E27FC236}">
                <a16:creationId xmlns:a16="http://schemas.microsoft.com/office/drawing/2014/main" id="{26FDE845-72A4-4235-B4C5-53F0B039D09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CCBEB13-99D4-47D7-BFAE-D3289AC8C3B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17540A-2056-4870-BC00-C524A6D9E18A}" type="slidenum">
              <a:rPr lang="en-US" smtClean="0"/>
              <a:t>‹#›</a:t>
            </a:fld>
            <a:endParaRPr lang="en-US"/>
          </a:p>
        </p:txBody>
      </p:sp>
    </p:spTree>
    <p:extLst>
      <p:ext uri="{BB962C8B-B14F-4D97-AF65-F5344CB8AC3E}">
        <p14:creationId xmlns:p14="http://schemas.microsoft.com/office/powerpoint/2010/main" val="9652402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0-11-23T09:58:59.242"/>
    </inkml:context>
    <inkml:brush xml:id="br0">
      <inkml:brushProperty name="width" value="0.05" units="cm"/>
      <inkml:brushProperty name="height" value="0.05" units="cm"/>
    </inkml:brush>
  </inkml:definitions>
  <inkml:trace contextRef="#ctx0" brushRef="#br0">19 1 3524 0 0,'0'0'864'0'0,"-19"1"-294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347848-9133-4741-B96D-A1F9D5C097A5}" type="datetimeFigureOut">
              <a:rPr lang="en-US" smtClean="0"/>
              <a:t>4/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877729-E29F-4CC2-85BE-B267868C7A6F}" type="slidenum">
              <a:rPr lang="en-US" smtClean="0"/>
              <a:t>‹#›</a:t>
            </a:fld>
            <a:endParaRPr lang="en-US"/>
          </a:p>
        </p:txBody>
      </p:sp>
    </p:spTree>
    <p:extLst>
      <p:ext uri="{BB962C8B-B14F-4D97-AF65-F5344CB8AC3E}">
        <p14:creationId xmlns:p14="http://schemas.microsoft.com/office/powerpoint/2010/main" val="166959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877729-E29F-4CC2-85BE-B267868C7A6F}" type="slidenum">
              <a:rPr lang="en-US" smtClean="0"/>
              <a:t>1</a:t>
            </a:fld>
            <a:endParaRPr lang="en-US"/>
          </a:p>
        </p:txBody>
      </p:sp>
    </p:spTree>
    <p:extLst>
      <p:ext uri="{BB962C8B-B14F-4D97-AF65-F5344CB8AC3E}">
        <p14:creationId xmlns:p14="http://schemas.microsoft.com/office/powerpoint/2010/main" val="4127397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50000"/>
              </a:lnSpc>
              <a:buFont typeface="Arial" panose="020B0604020202020204" pitchFamily="34" charset="0"/>
              <a:buNone/>
            </a:pPr>
            <a:endParaRPr lang="en-US" sz="1200" b="1" dirty="0">
              <a:solidFill>
                <a:srgbClr val="1A75BC"/>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E08E9-2322-4307-96D1-4AEF9329F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36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877729-E29F-4CC2-85BE-B267868C7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319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77729-E29F-4CC2-85BE-B267868C7A6F}" type="slidenum">
              <a:rPr lang="en-US" smtClean="0"/>
              <a:t>8</a:t>
            </a:fld>
            <a:endParaRPr lang="en-US"/>
          </a:p>
        </p:txBody>
      </p:sp>
    </p:spTree>
    <p:extLst>
      <p:ext uri="{BB962C8B-B14F-4D97-AF65-F5344CB8AC3E}">
        <p14:creationId xmlns:p14="http://schemas.microsoft.com/office/powerpoint/2010/main" val="2895230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77729-E29F-4CC2-85BE-B267868C7A6F}" type="slidenum">
              <a:rPr lang="en-US" smtClean="0"/>
              <a:t>10</a:t>
            </a:fld>
            <a:endParaRPr lang="en-US"/>
          </a:p>
        </p:txBody>
      </p:sp>
    </p:spTree>
    <p:extLst>
      <p:ext uri="{BB962C8B-B14F-4D97-AF65-F5344CB8AC3E}">
        <p14:creationId xmlns:p14="http://schemas.microsoft.com/office/powerpoint/2010/main" val="3328752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77729-E29F-4CC2-85BE-B267868C7A6F}" type="slidenum">
              <a:rPr lang="en-US" smtClean="0"/>
              <a:t>11</a:t>
            </a:fld>
            <a:endParaRPr lang="en-US"/>
          </a:p>
        </p:txBody>
      </p:sp>
    </p:spTree>
    <p:extLst>
      <p:ext uri="{BB962C8B-B14F-4D97-AF65-F5344CB8AC3E}">
        <p14:creationId xmlns:p14="http://schemas.microsoft.com/office/powerpoint/2010/main" val="1339766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404040"/>
                </a:solidFill>
                <a:latin typeface="Trebuchet MS"/>
              </a:rPr>
              <a:t>Businesses receive assessment report detailing pollution reduction opportunities, costs of implementation, and business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404040"/>
                </a:solidFill>
                <a:latin typeface="Trebuchet MS"/>
              </a:rPr>
              <a:t>Qualified businesses interested in reducing pollution from daily operations can receive funding to enhance business operations.</a:t>
            </a:r>
            <a:endParaRPr lang="en-US"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p>
            <a:endParaRPr lang="en-US" dirty="0"/>
          </a:p>
        </p:txBody>
      </p:sp>
      <p:sp>
        <p:nvSpPr>
          <p:cNvPr id="4" name="Slide Number Placeholder 3"/>
          <p:cNvSpPr>
            <a:spLocks noGrp="1"/>
          </p:cNvSpPr>
          <p:nvPr>
            <p:ph type="sldNum" sz="quarter" idx="5"/>
          </p:nvPr>
        </p:nvSpPr>
        <p:spPr/>
        <p:txBody>
          <a:bodyPr/>
          <a:lstStyle/>
          <a:p>
            <a:fld id="{AC877729-E29F-4CC2-85BE-B267868C7A6F}" type="slidenum">
              <a:rPr lang="en-US" smtClean="0"/>
              <a:t>12</a:t>
            </a:fld>
            <a:endParaRPr lang="en-US"/>
          </a:p>
        </p:txBody>
      </p:sp>
    </p:spTree>
    <p:extLst>
      <p:ext uri="{BB962C8B-B14F-4D97-AF65-F5344CB8AC3E}">
        <p14:creationId xmlns:p14="http://schemas.microsoft.com/office/powerpoint/2010/main" val="33768445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20.emf"/><Relationship Id="rId1" Type="http://schemas.openxmlformats.org/officeDocument/2006/relationships/slideMaster" Target="../slideMasters/slideMaster9.xml"/><Relationship Id="rId5" Type="http://schemas.openxmlformats.org/officeDocument/2006/relationships/image" Target="../media/image21.emf"/><Relationship Id="rId4" Type="http://schemas.openxmlformats.org/officeDocument/2006/relationships/image" Target="NUL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2" name="Rectangle 1"/>
          <p:cNvSpPr/>
          <p:nvPr userDrawn="1"/>
        </p:nvSpPr>
        <p:spPr>
          <a:xfrm>
            <a:off x="1" y="1360854"/>
            <a:ext cx="12191999" cy="4459376"/>
          </a:xfrm>
          <a:prstGeom prst="rect">
            <a:avLst/>
          </a:prstGeom>
          <a:gradFill flip="none" rotWithShape="1">
            <a:gsLst>
              <a:gs pos="0">
                <a:schemeClr val="tx2"/>
              </a:gs>
              <a:gs pos="100000">
                <a:schemeClr val="tx2">
                  <a:lumMod val="75000"/>
                  <a:alpha val="50000"/>
                </a:schemeClr>
              </a:gs>
            </a:gsLst>
            <a:lin ang="135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3" name="Group 2"/>
          <p:cNvGrpSpPr>
            <a:grpSpLocks noChangeAspect="1"/>
          </p:cNvGrpSpPr>
          <p:nvPr userDrawn="1"/>
        </p:nvGrpSpPr>
        <p:grpSpPr>
          <a:xfrm>
            <a:off x="2654656" y="996344"/>
            <a:ext cx="7098150" cy="3843721"/>
            <a:chOff x="2114559" y="1260931"/>
            <a:chExt cx="5515150" cy="4438958"/>
          </a:xfrm>
          <a:solidFill>
            <a:schemeClr val="bg1"/>
          </a:solidFill>
          <a:effectLst/>
        </p:grpSpPr>
        <p:sp>
          <p:nvSpPr>
            <p:cNvPr id="4" name="Isosceles Triangle 3"/>
            <p:cNvSpPr/>
            <p:nvPr/>
          </p:nvSpPr>
          <p:spPr>
            <a:xfrm>
              <a:off x="7423810" y="1270128"/>
              <a:ext cx="205899" cy="419943"/>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p:cNvSpPr/>
            <p:nvPr/>
          </p:nvSpPr>
          <p:spPr>
            <a:xfrm>
              <a:off x="2114559" y="1260931"/>
              <a:ext cx="213483" cy="42914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215431" y="1270130"/>
              <a:ext cx="5313406" cy="4429759"/>
            </a:xfrm>
            <a:prstGeom prst="rect">
              <a:avLst/>
            </a:prstGeom>
            <a:grpFill/>
            <a:ln>
              <a:noFill/>
            </a:ln>
            <a:effectLst>
              <a:outerShdw blurRad="165100" dist="38100" dir="8100000" sx="101000" sy="101000" algn="tr" rotWithShape="0">
                <a:prstClr val="black">
                  <a:alpha val="40000"/>
                </a:prstClr>
              </a:outerShdw>
            </a:effectLst>
            <a:scene3d>
              <a:camera prst="orthographicFront"/>
              <a:lightRig rig="threePt" dir="t"/>
            </a:scene3d>
            <a:sp3d extrusionH="12700"/>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44446" y="3329541"/>
            <a:ext cx="4689953" cy="1058305"/>
          </a:xfrm>
          <a:prstGeom prst="rect">
            <a:avLst/>
          </a:prstGeom>
        </p:spPr>
      </p:pic>
    </p:spTree>
    <p:extLst>
      <p:ext uri="{BB962C8B-B14F-4D97-AF65-F5344CB8AC3E}">
        <p14:creationId xmlns:p14="http://schemas.microsoft.com/office/powerpoint/2010/main" val="7593949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_with Table">
    <p:spTree>
      <p:nvGrpSpPr>
        <p:cNvPr id="1" name=""/>
        <p:cNvGrpSpPr/>
        <p:nvPr/>
      </p:nvGrpSpPr>
      <p:grpSpPr>
        <a:xfrm>
          <a:off x="0" y="0"/>
          <a:ext cx="0" cy="0"/>
          <a:chOff x="0" y="0"/>
          <a:chExt cx="0" cy="0"/>
        </a:xfrm>
      </p:grpSpPr>
      <p:sp>
        <p:nvSpPr>
          <p:cNvPr id="5" name="Table Placeholder 4"/>
          <p:cNvSpPr>
            <a:spLocks noGrp="1"/>
          </p:cNvSpPr>
          <p:nvPr>
            <p:ph type="tbl" sz="quarter" idx="11"/>
          </p:nvPr>
        </p:nvSpPr>
        <p:spPr>
          <a:xfrm>
            <a:off x="1371600" y="1219200"/>
            <a:ext cx="9791700" cy="4838700"/>
          </a:xfrm>
          <a:prstGeom prst="rect">
            <a:avLst/>
          </a:prstGeom>
          <a:noFill/>
          <a:ln>
            <a:noFill/>
          </a:ln>
        </p:spPr>
        <p:style>
          <a:lnRef idx="0">
            <a:scrgbClr r="0" g="0" b="0"/>
          </a:lnRef>
          <a:fillRef idx="0">
            <a:scrgbClr r="0" g="0" b="0"/>
          </a:fillRef>
          <a:effectRef idx="0">
            <a:scrgbClr r="0" g="0" b="0"/>
          </a:effectRef>
          <a:fontRef idx="minor">
            <a:schemeClr val="dk1"/>
          </a:fontRef>
        </p:style>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
        <p:nvSpPr>
          <p:cNvPr id="6" name="Text Placeholder 10">
            <a:extLst>
              <a:ext uri="{FF2B5EF4-FFF2-40B4-BE49-F238E27FC236}">
                <a16:creationId xmlns:a16="http://schemas.microsoft.com/office/drawing/2014/main" id="{A6820176-3C84-47DA-B8A0-2EA8E61C751A}"/>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15815532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060D94DA-273E-445A-9FB5-AE4E9D09FE78}"/>
              </a:ext>
            </a:extLst>
          </p:cNvPr>
          <p:cNvSpPr>
            <a:spLocks noGrp="1"/>
          </p:cNvSpPr>
          <p:nvPr>
            <p:ph type="body" sz="quarter" idx="4294967295" hasCustomPrompt="1"/>
          </p:nvPr>
        </p:nvSpPr>
        <p:spPr>
          <a:xfrm>
            <a:off x="615379" y="238351"/>
            <a:ext cx="10547922" cy="602377"/>
          </a:xfrm>
          <a:prstGeom prst="rect">
            <a:avLst/>
          </a:prstGeom>
        </p:spPr>
        <p:txBody>
          <a:bodyPr tIns="0" bIns="0" anchor="ctr" anchorCtr="0"/>
          <a:lstStyle>
            <a:lvl1pPr marL="0" indent="0">
              <a:lnSpc>
                <a:spcPct val="100000"/>
              </a:lnSpc>
              <a:spcBef>
                <a:spcPts val="0"/>
              </a:spcBef>
              <a:defRPr/>
            </a:lvl1pPr>
          </a:lstStyle>
          <a:p>
            <a:r>
              <a:rPr lang="en-US" sz="2400" dirty="0">
                <a:solidFill>
                  <a:schemeClr val="accent3"/>
                </a:solidFill>
                <a:latin typeface="Arial" panose="020B0604020202020204" pitchFamily="34" charset="0"/>
                <a:cs typeface="Arial" panose="020B0604020202020204" pitchFamily="34" charset="0"/>
              </a:rPr>
              <a:t> Bullet Point</a:t>
            </a:r>
          </a:p>
        </p:txBody>
      </p:sp>
    </p:spTree>
    <p:extLst>
      <p:ext uri="{BB962C8B-B14F-4D97-AF65-F5344CB8AC3E}">
        <p14:creationId xmlns:p14="http://schemas.microsoft.com/office/powerpoint/2010/main" val="1189966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BEDB6BF-502A-40AE-96A8-AA6312EF8EF2}" type="datetimeFigureOut">
              <a:rPr lang="en-US" smtClean="0"/>
              <a:t>4/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F51687-0653-44F2-93CA-52CFC3996EB3}" type="slidenum">
              <a:rPr lang="en-US" smtClean="0"/>
              <a:t>‹#›</a:t>
            </a:fld>
            <a:endParaRPr lang="en-US" dirty="0"/>
          </a:p>
        </p:txBody>
      </p:sp>
    </p:spTree>
    <p:extLst>
      <p:ext uri="{BB962C8B-B14F-4D97-AF65-F5344CB8AC3E}">
        <p14:creationId xmlns:p14="http://schemas.microsoft.com/office/powerpoint/2010/main" val="20320190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_ Text &amp; Picture_Horizontal">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371600" y="1219201"/>
            <a:ext cx="5211694" cy="4838700"/>
          </a:xfrm>
          <a:prstGeom prst="rect">
            <a:avLst/>
          </a:prstGeom>
        </p:spPr>
        <p:txBody>
          <a:bodyPr tIns="0" bIns="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9" name="Text Placeholder 10"/>
          <p:cNvSpPr>
            <a:spLocks noGrp="1"/>
          </p:cNvSpPr>
          <p:nvPr>
            <p:ph type="body" sz="quarter" idx="10" hasCustomPrompt="1"/>
          </p:nvPr>
        </p:nvSpPr>
        <p:spPr>
          <a:xfrm>
            <a:off x="811763" y="312738"/>
            <a:ext cx="10384971" cy="454025"/>
          </a:xfrm>
          <a:prstGeom prst="rect">
            <a:avLst/>
          </a:prstGeom>
        </p:spPr>
        <p:txBody>
          <a:bodyPr tIns="0" bIns="0"/>
          <a:lstStyle>
            <a:lvl1pPr marL="0" indent="0" algn="l">
              <a:buNone/>
              <a:defRPr sz="3600" b="1" baseline="0">
                <a:solidFill>
                  <a:schemeClr val="bg2"/>
                </a:solidFill>
                <a:latin typeface="Arial" panose="020B0604020202020204" pitchFamily="34" charset="0"/>
                <a:cs typeface="Arial" panose="020B0604020202020204" pitchFamily="34" charset="0"/>
              </a:defRPr>
            </a:lvl1pPr>
          </a:lstStyle>
          <a:p>
            <a:pPr lvl="0"/>
            <a:r>
              <a:rPr lang="en-US" dirty="0"/>
              <a:t>Title</a:t>
            </a:r>
          </a:p>
        </p:txBody>
      </p:sp>
      <p:sp>
        <p:nvSpPr>
          <p:cNvPr id="10" name="Picture Placeholder 13"/>
          <p:cNvSpPr>
            <a:spLocks noGrp="1"/>
          </p:cNvSpPr>
          <p:nvPr>
            <p:ph type="pic" sz="quarter" idx="11"/>
          </p:nvPr>
        </p:nvSpPr>
        <p:spPr>
          <a:xfrm>
            <a:off x="6913985" y="1219201"/>
            <a:ext cx="4249316" cy="4838700"/>
          </a:xfrm>
          <a:prstGeom prst="rect">
            <a:avLst/>
          </a:prstGeom>
        </p:spPr>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676945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_ Text &amp; Picture_Vertical">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375717" y="1219201"/>
            <a:ext cx="9787583" cy="2830286"/>
          </a:xfrm>
          <a:prstGeom prst="rect">
            <a:avLst/>
          </a:prstGeom>
        </p:spPr>
        <p:txBody>
          <a:bodyPr tIns="0" bIns="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defRPr sz="2200">
                <a:solidFill>
                  <a:schemeClr val="accent1"/>
                </a:solidFill>
                <a:latin typeface="Arial" panose="020B0604020202020204" pitchFamily="34" charset="0"/>
                <a:cs typeface="Arial" panose="020B0604020202020204" pitchFamily="34" charset="0"/>
              </a:defRPr>
            </a:lvl2pPr>
            <a:lvl3pPr>
              <a:defRPr sz="2200">
                <a:solidFill>
                  <a:schemeClr val="accent1"/>
                </a:solidFill>
                <a:latin typeface="Arial" panose="020B0604020202020204" pitchFamily="34" charset="0"/>
                <a:cs typeface="Arial" panose="020B0604020202020204" pitchFamily="34" charset="0"/>
              </a:defRPr>
            </a:lvl3pPr>
            <a:lvl4pPr>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9" name="Text Placeholder 10"/>
          <p:cNvSpPr>
            <a:spLocks noGrp="1"/>
          </p:cNvSpPr>
          <p:nvPr>
            <p:ph type="body" sz="quarter" idx="10" hasCustomPrompt="1"/>
          </p:nvPr>
        </p:nvSpPr>
        <p:spPr>
          <a:xfrm>
            <a:off x="811764" y="312738"/>
            <a:ext cx="10384970" cy="454025"/>
          </a:xfrm>
          <a:prstGeom prst="rect">
            <a:avLst/>
          </a:prstGeom>
        </p:spPr>
        <p:txBody>
          <a:bodyPr tIns="0" bIns="0"/>
          <a:lstStyle>
            <a:lvl1pPr marL="0" indent="0" algn="l">
              <a:buNone/>
              <a:defRPr sz="3600" b="1" baseline="0">
                <a:solidFill>
                  <a:schemeClr val="bg2"/>
                </a:solidFill>
                <a:latin typeface="Arial" panose="020B0604020202020204" pitchFamily="34" charset="0"/>
                <a:cs typeface="Arial" panose="020B0604020202020204" pitchFamily="34" charset="0"/>
              </a:defRPr>
            </a:lvl1pPr>
          </a:lstStyle>
          <a:p>
            <a:pPr lvl="0"/>
            <a:r>
              <a:rPr lang="en-US" dirty="0"/>
              <a:t>Title</a:t>
            </a:r>
          </a:p>
        </p:txBody>
      </p:sp>
      <p:sp>
        <p:nvSpPr>
          <p:cNvPr id="10" name="Picture Placeholder 13"/>
          <p:cNvSpPr>
            <a:spLocks noGrp="1"/>
          </p:cNvSpPr>
          <p:nvPr>
            <p:ph type="pic" sz="quarter" idx="11"/>
          </p:nvPr>
        </p:nvSpPr>
        <p:spPr>
          <a:xfrm>
            <a:off x="1375719" y="4329404"/>
            <a:ext cx="3410466" cy="1728496"/>
          </a:xfrm>
          <a:prstGeom prst="rect">
            <a:avLst/>
          </a:prstGeom>
        </p:spPr>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264814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de Content_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304" y="0"/>
            <a:ext cx="1877292" cy="847002"/>
          </a:xfrm>
          <a:prstGeom prst="rect">
            <a:avLst/>
          </a:prstGeom>
        </p:spPr>
        <p:txBody>
          <a:bodyPr tIns="0" bIns="0" anchor="ctr" anchorCtr="1"/>
          <a:lstStyle>
            <a:lvl1pPr algn="ctr">
              <a:lnSpc>
                <a:spcPct val="100000"/>
              </a:lnSpc>
              <a:defRPr sz="2400">
                <a:solidFill>
                  <a:schemeClr val="tx1"/>
                </a:solidFill>
                <a:latin typeface="Arial" panose="020B0604020202020204" pitchFamily="34" charset="0"/>
                <a:cs typeface="Arial" panose="020B0604020202020204" pitchFamily="34" charset="0"/>
              </a:defRPr>
            </a:lvl1pPr>
          </a:lstStyle>
          <a:p>
            <a:r>
              <a:rPr lang="en-US" dirty="0"/>
              <a:t>Category</a:t>
            </a:r>
            <a:br>
              <a:rPr lang="en-US" dirty="0"/>
            </a:br>
            <a:r>
              <a:rPr lang="en-US" dirty="0"/>
              <a:t>[CODE]</a:t>
            </a:r>
          </a:p>
        </p:txBody>
      </p:sp>
      <p:sp>
        <p:nvSpPr>
          <p:cNvPr id="3" name="Content Placeholder 2"/>
          <p:cNvSpPr>
            <a:spLocks noGrp="1"/>
          </p:cNvSpPr>
          <p:nvPr>
            <p:ph idx="1" hasCustomPrompt="1"/>
          </p:nvPr>
        </p:nvSpPr>
        <p:spPr>
          <a:xfrm>
            <a:off x="1375718" y="1219201"/>
            <a:ext cx="9794789" cy="2125362"/>
          </a:xfrm>
          <a:prstGeom prst="rect">
            <a:avLst/>
          </a:prstGeom>
        </p:spPr>
        <p:txBody>
          <a:bodyPr tIns="0" bIns="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1" name="Text Placeholder 10"/>
          <p:cNvSpPr>
            <a:spLocks noGrp="1"/>
          </p:cNvSpPr>
          <p:nvPr>
            <p:ph type="body" sz="quarter" idx="10" hasCustomPrompt="1"/>
          </p:nvPr>
        </p:nvSpPr>
        <p:spPr>
          <a:xfrm>
            <a:off x="1368513" y="229684"/>
            <a:ext cx="9794788" cy="617318"/>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Code Title</a:t>
            </a:r>
          </a:p>
        </p:txBody>
      </p:sp>
      <p:sp>
        <p:nvSpPr>
          <p:cNvPr id="14" name="Picture Placeholder 13"/>
          <p:cNvSpPr>
            <a:spLocks noGrp="1"/>
          </p:cNvSpPr>
          <p:nvPr>
            <p:ph type="pic" sz="quarter" idx="11"/>
          </p:nvPr>
        </p:nvSpPr>
        <p:spPr>
          <a:xfrm>
            <a:off x="1371600" y="3599935"/>
            <a:ext cx="3842951" cy="2092411"/>
          </a:xfrm>
          <a:prstGeom prst="rect">
            <a:avLst/>
          </a:prstGeom>
        </p:spPr>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
        <p:nvSpPr>
          <p:cNvPr id="23" name="Content Placeholder 2"/>
          <p:cNvSpPr>
            <a:spLocks noGrp="1"/>
          </p:cNvSpPr>
          <p:nvPr>
            <p:ph idx="12" hasCustomPrompt="1"/>
          </p:nvPr>
        </p:nvSpPr>
        <p:spPr>
          <a:xfrm>
            <a:off x="1375718" y="5724751"/>
            <a:ext cx="3838833" cy="333148"/>
          </a:xfrm>
          <a:prstGeom prst="rect">
            <a:avLst/>
          </a:prstGeom>
        </p:spPr>
        <p:txBody>
          <a:bodyPr tIns="0" bIns="0"/>
          <a:lstStyle>
            <a:lvl1pPr marL="0" indent="0">
              <a:lnSpc>
                <a:spcPct val="150000"/>
              </a:lnSpc>
              <a:spcBef>
                <a:spcPts val="0"/>
              </a:spcBef>
              <a:buNone/>
              <a:defRPr sz="1800">
                <a:solidFill>
                  <a:schemeClr val="accent1"/>
                </a:solidFill>
                <a:latin typeface="Arial" panose="020B0604020202020204" pitchFamily="34" charset="0"/>
                <a:cs typeface="Arial" panose="020B0604020202020204" pitchFamily="34" charset="0"/>
              </a:defRPr>
            </a:lvl1pPr>
            <a:lvl2pPr>
              <a:defRPr sz="2400">
                <a:solidFill>
                  <a:schemeClr val="accent1"/>
                </a:solidFill>
              </a:defRPr>
            </a:lvl2pPr>
            <a:lvl3pPr>
              <a:defRPr>
                <a:solidFill>
                  <a:schemeClr val="accent1"/>
                </a:solidFill>
              </a:defRPr>
            </a:lvl3pPr>
            <a:lvl4pPr>
              <a:defRPr>
                <a:solidFill>
                  <a:schemeClr val="accent1"/>
                </a:solidFill>
              </a:defRPr>
            </a:lvl4pPr>
          </a:lstStyle>
          <a:p>
            <a:pPr lvl="0"/>
            <a:r>
              <a:rPr lang="en-US" dirty="0"/>
              <a:t>Image Description</a:t>
            </a:r>
          </a:p>
        </p:txBody>
      </p:sp>
    </p:spTree>
    <p:extLst>
      <p:ext uri="{BB962C8B-B14F-4D97-AF65-F5344CB8AC3E}">
        <p14:creationId xmlns:p14="http://schemas.microsoft.com/office/powerpoint/2010/main" val="3728073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DAC Intro">
    <p:spTree>
      <p:nvGrpSpPr>
        <p:cNvPr id="1" name=""/>
        <p:cNvGrpSpPr/>
        <p:nvPr/>
      </p:nvGrpSpPr>
      <p:grpSpPr>
        <a:xfrm>
          <a:off x="0" y="0"/>
          <a:ext cx="0" cy="0"/>
          <a:chOff x="0" y="0"/>
          <a:chExt cx="0" cy="0"/>
        </a:xfrm>
      </p:grpSpPr>
      <p:sp>
        <p:nvSpPr>
          <p:cNvPr id="6" name="Content Placeholder 2"/>
          <p:cNvSpPr>
            <a:spLocks noGrp="1"/>
          </p:cNvSpPr>
          <p:nvPr>
            <p:ph idx="1"/>
          </p:nvPr>
        </p:nvSpPr>
        <p:spPr>
          <a:xfrm>
            <a:off x="1375718" y="1219201"/>
            <a:ext cx="9794789" cy="1985818"/>
          </a:xfrm>
          <a:prstGeom prst="rect">
            <a:avLst/>
          </a:prstGeom>
        </p:spPr>
        <p:txBody>
          <a:bodyPr/>
          <a:lstStyle>
            <a:lvl1pPr>
              <a:lnSpc>
                <a:spcPct val="90000"/>
              </a:lnSpc>
              <a:spcBef>
                <a:spcPts val="1800"/>
              </a:spcBef>
              <a:defRPr sz="26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7" name="Text Placeholder 10"/>
          <p:cNvSpPr>
            <a:spLocks noGrp="1"/>
          </p:cNvSpPr>
          <p:nvPr>
            <p:ph type="body" sz="quarter" idx="10" hasCustomPrompt="1"/>
          </p:nvPr>
        </p:nvSpPr>
        <p:spPr>
          <a:xfrm>
            <a:off x="4313382" y="220375"/>
            <a:ext cx="3565236" cy="454025"/>
          </a:xfrm>
          <a:prstGeom prst="rect">
            <a:avLst/>
          </a:prstGeom>
        </p:spPr>
        <p:txBody>
          <a:bodyPr/>
          <a:lstStyle>
            <a:lvl1pPr marL="0" indent="0" algn="ctr">
              <a:buNone/>
              <a:defRPr sz="3400" b="1" baseline="0">
                <a:solidFill>
                  <a:schemeClr val="tx1"/>
                </a:solidFill>
                <a:latin typeface="Arial" panose="020B0604020202020204" pitchFamily="34" charset="0"/>
                <a:cs typeface="Arial" panose="020B0604020202020204" pitchFamily="34" charset="0"/>
              </a:defRPr>
            </a:lvl1pPr>
          </a:lstStyle>
          <a:p>
            <a:pPr lvl="0"/>
            <a:r>
              <a:rPr lang="en-US" dirty="0"/>
              <a:t>Title</a:t>
            </a:r>
          </a:p>
        </p:txBody>
      </p:sp>
      <p:sp>
        <p:nvSpPr>
          <p:cNvPr id="8" name="Picture Placeholder 13"/>
          <p:cNvSpPr>
            <a:spLocks noGrp="1"/>
          </p:cNvSpPr>
          <p:nvPr>
            <p:ph type="pic" sz="quarter" idx="11"/>
          </p:nvPr>
        </p:nvSpPr>
        <p:spPr>
          <a:xfrm>
            <a:off x="3371273" y="3585721"/>
            <a:ext cx="5772727" cy="2457608"/>
          </a:xfrm>
          <a:prstGeom prst="rect">
            <a:avLst/>
          </a:prstGeom>
        </p:spPr>
        <p:txBody>
          <a:bodyPr/>
          <a:lstStyle/>
          <a:p>
            <a:endParaRPr lang="en-US" dirty="0"/>
          </a:p>
        </p:txBody>
      </p:sp>
    </p:spTree>
    <p:extLst>
      <p:ext uri="{BB962C8B-B14F-4D97-AF65-F5344CB8AC3E}">
        <p14:creationId xmlns:p14="http://schemas.microsoft.com/office/powerpoint/2010/main" val="3888347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_ only Text">
    <p:spTree>
      <p:nvGrpSpPr>
        <p:cNvPr id="1" name=""/>
        <p:cNvGrpSpPr/>
        <p:nvPr/>
      </p:nvGrpSpPr>
      <p:grpSpPr>
        <a:xfrm>
          <a:off x="0" y="0"/>
          <a:ext cx="0" cy="0"/>
          <a:chOff x="0" y="0"/>
          <a:chExt cx="0" cy="0"/>
        </a:xfrm>
      </p:grpSpPr>
      <p:sp>
        <p:nvSpPr>
          <p:cNvPr id="9" name="Text Placeholder 10"/>
          <p:cNvSpPr>
            <a:spLocks noGrp="1"/>
          </p:cNvSpPr>
          <p:nvPr>
            <p:ph type="body" sz="quarter" idx="10" hasCustomPrompt="1"/>
          </p:nvPr>
        </p:nvSpPr>
        <p:spPr>
          <a:xfrm>
            <a:off x="811763" y="312738"/>
            <a:ext cx="10384971" cy="454025"/>
          </a:xfrm>
          <a:prstGeom prst="rect">
            <a:avLst/>
          </a:prstGeom>
        </p:spPr>
        <p:txBody>
          <a:bodyPr/>
          <a:lstStyle>
            <a:lvl1pPr marL="0" indent="0" algn="ctr">
              <a:buNone/>
              <a:defRPr sz="3000" b="1" baseline="0">
                <a:solidFill>
                  <a:schemeClr val="bg1"/>
                </a:solidFill>
                <a:latin typeface="Arial" panose="020B0604020202020204" pitchFamily="34" charset="0"/>
                <a:cs typeface="Arial" panose="020B0604020202020204" pitchFamily="34" charset="0"/>
              </a:defRPr>
            </a:lvl1pPr>
          </a:lstStyle>
          <a:p>
            <a:pPr lvl="0"/>
            <a:r>
              <a:rPr lang="en-US" dirty="0"/>
              <a:t>Title</a:t>
            </a:r>
          </a:p>
        </p:txBody>
      </p:sp>
      <p:sp>
        <p:nvSpPr>
          <p:cNvPr id="3" name="Text Placeholder 2"/>
          <p:cNvSpPr>
            <a:spLocks noGrp="1"/>
          </p:cNvSpPr>
          <p:nvPr>
            <p:ph type="body" sz="quarter" idx="11"/>
          </p:nvPr>
        </p:nvSpPr>
        <p:spPr>
          <a:xfrm>
            <a:off x="1371600" y="1219200"/>
            <a:ext cx="9791700" cy="4838700"/>
          </a:xfrm>
          <a:prstGeom prst="rect">
            <a:avLst/>
          </a:prstGeom>
        </p:spPr>
        <p:txBody>
          <a:bodyPr/>
          <a:lstStyle>
            <a:lvl1pPr>
              <a:lnSpc>
                <a:spcPct val="100000"/>
              </a:lnSpc>
              <a:spcBef>
                <a:spcPts val="1200"/>
              </a:spcBef>
              <a:defRPr sz="2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p:txBody>
      </p:sp>
    </p:spTree>
    <p:extLst>
      <p:ext uri="{BB962C8B-B14F-4D97-AF65-F5344CB8AC3E}">
        <p14:creationId xmlns:p14="http://schemas.microsoft.com/office/powerpoint/2010/main" val="3380711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with Highlight">
    <p:spTree>
      <p:nvGrpSpPr>
        <p:cNvPr id="1" name=""/>
        <p:cNvGrpSpPr/>
        <p:nvPr/>
      </p:nvGrpSpPr>
      <p:grpSpPr>
        <a:xfrm>
          <a:off x="0" y="0"/>
          <a:ext cx="0" cy="0"/>
          <a:chOff x="0" y="0"/>
          <a:chExt cx="0" cy="0"/>
        </a:xfrm>
      </p:grpSpPr>
      <p:sp>
        <p:nvSpPr>
          <p:cNvPr id="7" name="Content Placeholder 2"/>
          <p:cNvSpPr>
            <a:spLocks noGrp="1"/>
          </p:cNvSpPr>
          <p:nvPr>
            <p:ph idx="1"/>
          </p:nvPr>
        </p:nvSpPr>
        <p:spPr>
          <a:xfrm>
            <a:off x="1375717" y="2537254"/>
            <a:ext cx="9787583" cy="3520646"/>
          </a:xfrm>
          <a:prstGeom prst="rect">
            <a:avLst/>
          </a:prstGeom>
        </p:spPr>
        <p:txBody>
          <a:bodyPr/>
          <a:lstStyle>
            <a:lvl1pPr>
              <a:lnSpc>
                <a:spcPct val="90000"/>
              </a:lnSpc>
              <a:spcBef>
                <a:spcPts val="1800"/>
              </a:spcBef>
              <a:defRPr sz="26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8" name="Text Placeholder 10"/>
          <p:cNvSpPr>
            <a:spLocks noGrp="1"/>
          </p:cNvSpPr>
          <p:nvPr>
            <p:ph type="body" sz="quarter" idx="10" hasCustomPrompt="1"/>
          </p:nvPr>
        </p:nvSpPr>
        <p:spPr>
          <a:xfrm>
            <a:off x="811764" y="312738"/>
            <a:ext cx="10384970" cy="454025"/>
          </a:xfrm>
          <a:prstGeom prst="rect">
            <a:avLst/>
          </a:prstGeom>
        </p:spPr>
        <p:txBody>
          <a:bodyPr/>
          <a:lstStyle>
            <a:lvl1pPr marL="0" indent="0" algn="ctr">
              <a:buNone/>
              <a:defRPr sz="3000" b="1" baseline="0">
                <a:solidFill>
                  <a:schemeClr val="bg1"/>
                </a:solidFill>
                <a:latin typeface="Arial" panose="020B0604020202020204" pitchFamily="34" charset="0"/>
                <a:cs typeface="Arial" panose="020B0604020202020204" pitchFamily="34" charset="0"/>
              </a:defRPr>
            </a:lvl1pPr>
          </a:lstStyle>
          <a:p>
            <a:pPr lvl="0"/>
            <a:r>
              <a:rPr lang="en-US" dirty="0"/>
              <a:t>Title</a:t>
            </a:r>
          </a:p>
        </p:txBody>
      </p:sp>
      <p:sp>
        <p:nvSpPr>
          <p:cNvPr id="13" name="Content Placeholder 12"/>
          <p:cNvSpPr>
            <a:spLocks noGrp="1"/>
          </p:cNvSpPr>
          <p:nvPr>
            <p:ph sz="quarter" idx="11"/>
          </p:nvPr>
        </p:nvSpPr>
        <p:spPr>
          <a:xfrm>
            <a:off x="1376459" y="1219199"/>
            <a:ext cx="9820275" cy="1145059"/>
          </a:xfrm>
          <a:prstGeom prst="roundRect">
            <a:avLst/>
          </a:prstGeom>
          <a:solidFill>
            <a:schemeClr val="bg2"/>
          </a:solidFill>
        </p:spPr>
        <p:style>
          <a:lnRef idx="0">
            <a:schemeClr val="dk1"/>
          </a:lnRef>
          <a:fillRef idx="3">
            <a:schemeClr val="dk1"/>
          </a:fillRef>
          <a:effectRef idx="3">
            <a:schemeClr val="dk1"/>
          </a:effectRef>
          <a:fontRef idx="none"/>
        </p:style>
        <p:txBody>
          <a:bodyPr/>
          <a:lstStyle>
            <a:lvl1pPr marL="0" indent="0">
              <a:lnSpc>
                <a:spcPct val="90000"/>
              </a:lnSpc>
              <a:spcBef>
                <a:spcPts val="1800"/>
              </a:spcBef>
              <a:buNone/>
              <a:defRPr sz="2600">
                <a:latin typeface="Arial" panose="020B0604020202020204" pitchFamily="34" charset="0"/>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1655631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_only image">
    <p:spTree>
      <p:nvGrpSpPr>
        <p:cNvPr id="1" name=""/>
        <p:cNvGrpSpPr/>
        <p:nvPr/>
      </p:nvGrpSpPr>
      <p:grpSpPr>
        <a:xfrm>
          <a:off x="0" y="0"/>
          <a:ext cx="0" cy="0"/>
          <a:chOff x="0" y="0"/>
          <a:chExt cx="0" cy="0"/>
        </a:xfrm>
      </p:grpSpPr>
      <p:sp>
        <p:nvSpPr>
          <p:cNvPr id="4" name="Text Placeholder 10"/>
          <p:cNvSpPr>
            <a:spLocks noGrp="1"/>
          </p:cNvSpPr>
          <p:nvPr>
            <p:ph type="body" sz="quarter" idx="10" hasCustomPrompt="1"/>
          </p:nvPr>
        </p:nvSpPr>
        <p:spPr>
          <a:xfrm>
            <a:off x="811764" y="312738"/>
            <a:ext cx="10384970" cy="454025"/>
          </a:xfrm>
          <a:prstGeom prst="rect">
            <a:avLst/>
          </a:prstGeom>
        </p:spPr>
        <p:txBody>
          <a:bodyPr/>
          <a:lstStyle>
            <a:lvl1pPr marL="0" indent="0" algn="ctr">
              <a:buNone/>
              <a:defRPr sz="3000" b="1" baseline="0">
                <a:solidFill>
                  <a:schemeClr val="bg1"/>
                </a:solidFill>
                <a:latin typeface="Arial" panose="020B0604020202020204" pitchFamily="34" charset="0"/>
                <a:cs typeface="Arial" panose="020B0604020202020204" pitchFamily="34" charset="0"/>
              </a:defRPr>
            </a:lvl1pPr>
          </a:lstStyle>
          <a:p>
            <a:pPr lvl="0"/>
            <a:r>
              <a:rPr lang="en-US" dirty="0"/>
              <a:t>Title</a:t>
            </a:r>
          </a:p>
        </p:txBody>
      </p:sp>
      <p:sp>
        <p:nvSpPr>
          <p:cNvPr id="7" name="Picture Placeholder 13"/>
          <p:cNvSpPr>
            <a:spLocks noGrp="1"/>
          </p:cNvSpPr>
          <p:nvPr>
            <p:ph type="pic" sz="quarter" idx="11"/>
          </p:nvPr>
        </p:nvSpPr>
        <p:spPr>
          <a:xfrm>
            <a:off x="1375719" y="1219200"/>
            <a:ext cx="9787582" cy="4838699"/>
          </a:xfrm>
          <a:prstGeom prst="rect">
            <a:avLst/>
          </a:prstGeom>
        </p:spPr>
        <p:txBody>
          <a:bodyPr/>
          <a:lstStyle/>
          <a:p>
            <a:endParaRPr lang="en-US" dirty="0"/>
          </a:p>
        </p:txBody>
      </p:sp>
    </p:spTree>
    <p:extLst>
      <p:ext uri="{BB962C8B-B14F-4D97-AF65-F5344CB8AC3E}">
        <p14:creationId xmlns:p14="http://schemas.microsoft.com/office/powerpoint/2010/main" val="3736366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Rectangle 7"/>
          <p:cNvSpPr/>
          <p:nvPr userDrawn="1"/>
        </p:nvSpPr>
        <p:spPr>
          <a:xfrm>
            <a:off x="1" y="1360854"/>
            <a:ext cx="12191999" cy="4459376"/>
          </a:xfrm>
          <a:prstGeom prst="rect">
            <a:avLst/>
          </a:prstGeom>
          <a:gradFill flip="none" rotWithShape="1">
            <a:gsLst>
              <a:gs pos="0">
                <a:schemeClr val="tx2"/>
              </a:gs>
              <a:gs pos="100000">
                <a:schemeClr val="tx2">
                  <a:lumMod val="75000"/>
                  <a:alpha val="50000"/>
                </a:schemeClr>
              </a:gs>
            </a:gsLst>
            <a:lin ang="135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4" name="Group 3"/>
          <p:cNvGrpSpPr>
            <a:grpSpLocks noChangeAspect="1"/>
          </p:cNvGrpSpPr>
          <p:nvPr userDrawn="1"/>
        </p:nvGrpSpPr>
        <p:grpSpPr>
          <a:xfrm>
            <a:off x="2654656" y="996344"/>
            <a:ext cx="7098150" cy="3843721"/>
            <a:chOff x="2114559" y="1260931"/>
            <a:chExt cx="5515150" cy="4438958"/>
          </a:xfrm>
          <a:solidFill>
            <a:schemeClr val="bg1"/>
          </a:solidFill>
          <a:effectLst/>
        </p:grpSpPr>
        <p:sp>
          <p:nvSpPr>
            <p:cNvPr id="5" name="Isosceles Triangle 4"/>
            <p:cNvSpPr/>
            <p:nvPr/>
          </p:nvSpPr>
          <p:spPr>
            <a:xfrm>
              <a:off x="7423810" y="1270128"/>
              <a:ext cx="205899" cy="419943"/>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p:cNvSpPr/>
            <p:nvPr/>
          </p:nvSpPr>
          <p:spPr>
            <a:xfrm>
              <a:off x="2114559" y="1260931"/>
              <a:ext cx="213483" cy="42914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215431" y="1270130"/>
              <a:ext cx="5313406" cy="4429759"/>
            </a:xfrm>
            <a:prstGeom prst="rect">
              <a:avLst/>
            </a:prstGeom>
            <a:grpFill/>
            <a:ln>
              <a:noFill/>
            </a:ln>
            <a:effectLst>
              <a:outerShdw blurRad="165100" dist="38100" dir="8100000" sx="101000" sy="101000" algn="tr" rotWithShape="0">
                <a:prstClr val="black">
                  <a:alpha val="40000"/>
                </a:prstClr>
              </a:outerShdw>
            </a:effectLst>
            <a:scene3d>
              <a:camera prst="orthographicFront"/>
              <a:lightRig rig="threePt" dir="t"/>
            </a:scene3d>
            <a:sp3d extrusionH="12700"/>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889694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Content_Q&amp;A">
    <p:spTree>
      <p:nvGrpSpPr>
        <p:cNvPr id="1" name=""/>
        <p:cNvGrpSpPr/>
        <p:nvPr/>
      </p:nvGrpSpPr>
      <p:grpSpPr>
        <a:xfrm>
          <a:off x="0" y="0"/>
          <a:ext cx="0" cy="0"/>
          <a:chOff x="0" y="0"/>
          <a:chExt cx="0" cy="0"/>
        </a:xfrm>
      </p:grpSpPr>
      <p:sp>
        <p:nvSpPr>
          <p:cNvPr id="4" name="Text Placeholder 10"/>
          <p:cNvSpPr>
            <a:spLocks noGrp="1"/>
          </p:cNvSpPr>
          <p:nvPr>
            <p:ph type="body" sz="quarter" idx="10" hasCustomPrompt="1"/>
          </p:nvPr>
        </p:nvSpPr>
        <p:spPr>
          <a:xfrm>
            <a:off x="811764" y="312738"/>
            <a:ext cx="10384970" cy="454025"/>
          </a:xfrm>
          <a:prstGeom prst="rect">
            <a:avLst/>
          </a:prstGeom>
        </p:spPr>
        <p:txBody>
          <a:bodyPr/>
          <a:lstStyle>
            <a:lvl1pPr marL="0" indent="0" algn="ctr">
              <a:buNone/>
              <a:defRPr sz="3000" b="1" baseline="0">
                <a:solidFill>
                  <a:schemeClr val="bg1"/>
                </a:solidFill>
                <a:latin typeface="Arial" panose="020B0604020202020204" pitchFamily="34" charset="0"/>
                <a:cs typeface="Arial" panose="020B0604020202020204" pitchFamily="34" charset="0"/>
              </a:defRPr>
            </a:lvl1pPr>
          </a:lstStyle>
          <a:p>
            <a:pPr lvl="0"/>
            <a:r>
              <a:rPr lang="en-US" dirty="0"/>
              <a:t>Title</a:t>
            </a:r>
          </a:p>
        </p:txBody>
      </p:sp>
      <p:sp>
        <p:nvSpPr>
          <p:cNvPr id="5" name="Content Placeholder 2"/>
          <p:cNvSpPr>
            <a:spLocks noGrp="1"/>
          </p:cNvSpPr>
          <p:nvPr>
            <p:ph idx="1"/>
          </p:nvPr>
        </p:nvSpPr>
        <p:spPr>
          <a:xfrm>
            <a:off x="1877626" y="1993558"/>
            <a:ext cx="3929449" cy="3921210"/>
          </a:xfrm>
          <a:prstGeom prst="rect">
            <a:avLst/>
          </a:prstGeom>
          <a:solidFill>
            <a:schemeClr val="bg2">
              <a:lumMod val="40000"/>
              <a:lumOff val="60000"/>
            </a:schemeClr>
          </a:solidFill>
        </p:spPr>
        <p:txBody>
          <a:bodyPr anchor="ctr" anchorCtr="0"/>
          <a:lstStyle>
            <a:lvl1pPr>
              <a:lnSpc>
                <a:spcPct val="90000"/>
              </a:lnSpc>
              <a:spcBef>
                <a:spcPts val="1800"/>
              </a:spcBef>
              <a:defRPr sz="26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1" name="Content Placeholder 2"/>
          <p:cNvSpPr>
            <a:spLocks noGrp="1"/>
          </p:cNvSpPr>
          <p:nvPr>
            <p:ph idx="13"/>
          </p:nvPr>
        </p:nvSpPr>
        <p:spPr>
          <a:xfrm>
            <a:off x="6256638" y="1993557"/>
            <a:ext cx="3929449" cy="3921211"/>
          </a:xfrm>
          <a:prstGeom prst="rect">
            <a:avLst/>
          </a:prstGeom>
          <a:solidFill>
            <a:schemeClr val="bg2">
              <a:lumMod val="40000"/>
              <a:lumOff val="60000"/>
            </a:schemeClr>
          </a:solidFill>
        </p:spPr>
        <p:txBody>
          <a:bodyPr anchor="ctr" anchorCtr="0"/>
          <a:lstStyle>
            <a:lvl1pPr>
              <a:lnSpc>
                <a:spcPct val="90000"/>
              </a:lnSpc>
              <a:spcBef>
                <a:spcPts val="1800"/>
              </a:spcBef>
              <a:defRPr sz="26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9" name="Text Placeholder 18"/>
          <p:cNvSpPr>
            <a:spLocks noGrp="1"/>
          </p:cNvSpPr>
          <p:nvPr>
            <p:ph type="body" sz="quarter" idx="14" hasCustomPrompt="1"/>
          </p:nvPr>
        </p:nvSpPr>
        <p:spPr>
          <a:xfrm>
            <a:off x="1878013" y="1515761"/>
            <a:ext cx="3929062" cy="477796"/>
          </a:xfrm>
          <a:prstGeom prst="rect">
            <a:avLst/>
          </a:prstGeom>
          <a:solidFill>
            <a:schemeClr val="bg2"/>
          </a:solidFill>
        </p:spPr>
        <p:txBody>
          <a:bodyPr/>
          <a:lstStyle>
            <a:lvl1pPr marL="0" indent="0" algn="ctr">
              <a:buNone/>
              <a:defRPr b="1">
                <a:latin typeface="Arial" panose="020B0604020202020204" pitchFamily="34" charset="0"/>
                <a:cs typeface="Arial" panose="020B0604020202020204" pitchFamily="34" charset="0"/>
              </a:defRPr>
            </a:lvl1pPr>
          </a:lstStyle>
          <a:p>
            <a:pPr lvl="0"/>
            <a:r>
              <a:rPr lang="en-US" dirty="0"/>
              <a:t>Q</a:t>
            </a:r>
          </a:p>
        </p:txBody>
      </p:sp>
      <p:sp>
        <p:nvSpPr>
          <p:cNvPr id="21" name="Text Placeholder 18"/>
          <p:cNvSpPr>
            <a:spLocks noGrp="1"/>
          </p:cNvSpPr>
          <p:nvPr>
            <p:ph type="body" sz="quarter" idx="15" hasCustomPrompt="1"/>
          </p:nvPr>
        </p:nvSpPr>
        <p:spPr>
          <a:xfrm>
            <a:off x="6256638" y="1515761"/>
            <a:ext cx="3929062" cy="477796"/>
          </a:xfrm>
          <a:prstGeom prst="rect">
            <a:avLst/>
          </a:prstGeom>
          <a:solidFill>
            <a:schemeClr val="bg2"/>
          </a:solidFill>
        </p:spPr>
        <p:txBody>
          <a:bodyPr/>
          <a:lstStyle>
            <a:lvl1pPr marL="0" indent="0" algn="ctr">
              <a:buNone/>
              <a:defRPr b="1">
                <a:latin typeface="Arial" panose="020B0604020202020204" pitchFamily="34" charset="0"/>
                <a:cs typeface="Arial" panose="020B0604020202020204" pitchFamily="34" charset="0"/>
              </a:defRPr>
            </a:lvl1pPr>
          </a:lstStyle>
          <a:p>
            <a:pPr lvl="0"/>
            <a:r>
              <a:rPr lang="en-US" dirty="0"/>
              <a:t>A</a:t>
            </a:r>
          </a:p>
        </p:txBody>
      </p:sp>
    </p:spTree>
    <p:extLst>
      <p:ext uri="{BB962C8B-B14F-4D97-AF65-F5344CB8AC3E}">
        <p14:creationId xmlns:p14="http://schemas.microsoft.com/office/powerpoint/2010/main" val="694705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1_with Table">
    <p:spTree>
      <p:nvGrpSpPr>
        <p:cNvPr id="1" name=""/>
        <p:cNvGrpSpPr/>
        <p:nvPr/>
      </p:nvGrpSpPr>
      <p:grpSpPr>
        <a:xfrm>
          <a:off x="0" y="0"/>
          <a:ext cx="0" cy="0"/>
          <a:chOff x="0" y="0"/>
          <a:chExt cx="0" cy="0"/>
        </a:xfrm>
      </p:grpSpPr>
      <p:sp>
        <p:nvSpPr>
          <p:cNvPr id="3" name="Text Placeholder 10"/>
          <p:cNvSpPr>
            <a:spLocks noGrp="1"/>
          </p:cNvSpPr>
          <p:nvPr>
            <p:ph type="body" sz="quarter" idx="10" hasCustomPrompt="1"/>
          </p:nvPr>
        </p:nvSpPr>
        <p:spPr>
          <a:xfrm>
            <a:off x="811764" y="312738"/>
            <a:ext cx="10384970" cy="454025"/>
          </a:xfrm>
          <a:prstGeom prst="rect">
            <a:avLst/>
          </a:prstGeom>
        </p:spPr>
        <p:txBody>
          <a:bodyPr/>
          <a:lstStyle>
            <a:lvl1pPr marL="0" indent="0" algn="ctr">
              <a:buNone/>
              <a:defRPr sz="3000" b="1" baseline="0">
                <a:solidFill>
                  <a:schemeClr val="bg1"/>
                </a:solidFill>
                <a:latin typeface="Arial" panose="020B0604020202020204" pitchFamily="34" charset="0"/>
                <a:cs typeface="Arial" panose="020B0604020202020204" pitchFamily="34" charset="0"/>
              </a:defRPr>
            </a:lvl1pPr>
          </a:lstStyle>
          <a:p>
            <a:pPr lvl="0"/>
            <a:r>
              <a:rPr lang="en-US" dirty="0"/>
              <a:t>Title</a:t>
            </a:r>
          </a:p>
        </p:txBody>
      </p:sp>
      <p:sp>
        <p:nvSpPr>
          <p:cNvPr id="5" name="Table Placeholder 4"/>
          <p:cNvSpPr>
            <a:spLocks noGrp="1"/>
          </p:cNvSpPr>
          <p:nvPr>
            <p:ph type="tbl" sz="quarter" idx="11"/>
          </p:nvPr>
        </p:nvSpPr>
        <p:spPr>
          <a:xfrm>
            <a:off x="1371600" y="1219200"/>
            <a:ext cx="9791700" cy="4838700"/>
          </a:xfrm>
          <a:prstGeom prst="rect">
            <a:avLst/>
          </a:prstGeom>
        </p:spPr>
        <p:txBody>
          <a:bodyPr/>
          <a:lstStyle/>
          <a:p>
            <a:endParaRPr lang="en-US"/>
          </a:p>
        </p:txBody>
      </p:sp>
    </p:spTree>
    <p:extLst>
      <p:ext uri="{BB962C8B-B14F-4D97-AF65-F5344CB8AC3E}">
        <p14:creationId xmlns:p14="http://schemas.microsoft.com/office/powerpoint/2010/main" val="2188411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rontpage logo">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C7094B27-9636-475F-BFF1-450575226667}"/>
              </a:ext>
            </a:extLst>
          </p:cNvPr>
          <p:cNvPicPr>
            <a:picLocks noChangeAspect="1"/>
          </p:cNvPicPr>
          <p:nvPr userDrawn="1"/>
        </p:nvPicPr>
        <p:blipFill>
          <a:blip r:embed="rId2"/>
          <a:stretch>
            <a:fillRect/>
          </a:stretch>
        </p:blipFill>
        <p:spPr>
          <a:xfrm>
            <a:off x="2818861" y="2741039"/>
            <a:ext cx="6606161" cy="1722159"/>
          </a:xfrm>
          <a:prstGeom prst="rect">
            <a:avLst/>
          </a:prstGeom>
        </p:spPr>
      </p:pic>
      <p:sp>
        <p:nvSpPr>
          <p:cNvPr id="4" name="Date Placeholder 3"/>
          <p:cNvSpPr>
            <a:spLocks noGrp="1"/>
          </p:cNvSpPr>
          <p:nvPr>
            <p:ph type="dt" sz="half" idx="10"/>
          </p:nvPr>
        </p:nvSpPr>
        <p:spPr>
          <a:xfrm>
            <a:off x="8809567" y="7151891"/>
            <a:ext cx="2844800" cy="307776"/>
          </a:xfrm>
        </p:spPr>
        <p:txBody>
          <a:bodyPr/>
          <a:lstStyle>
            <a:lvl1pPr algn="r">
              <a:defRPr>
                <a:solidFill>
                  <a:schemeClr val="bg1"/>
                </a:solidFill>
              </a:defRPr>
            </a:lvl1pPr>
          </a:lstStyle>
          <a:p>
            <a:r>
              <a:rPr lang="da-DK"/>
              <a:t>&lt;DD </a:t>
            </a:r>
            <a:r>
              <a:rPr lang="da-DK" err="1"/>
              <a:t>Month</a:t>
            </a:r>
            <a:r>
              <a:rPr lang="da-DK"/>
              <a:t> YYYY&gt;</a:t>
            </a:r>
            <a:endParaRPr lang="en-US"/>
          </a:p>
        </p:txBody>
      </p:sp>
      <p:sp>
        <p:nvSpPr>
          <p:cNvPr id="5" name="Footer Placeholder 4"/>
          <p:cNvSpPr>
            <a:spLocks noGrp="1"/>
          </p:cNvSpPr>
          <p:nvPr>
            <p:ph type="ftr" sz="quarter" idx="11"/>
          </p:nvPr>
        </p:nvSpPr>
        <p:spPr>
          <a:xfrm>
            <a:off x="1151469" y="7146528"/>
            <a:ext cx="7658100" cy="307776"/>
          </a:xfrm>
        </p:spPr>
        <p:txBody>
          <a:bodyPr/>
          <a:lstStyle>
            <a:lvl1pPr>
              <a:defRPr>
                <a:solidFill>
                  <a:schemeClr val="bg1"/>
                </a:solidFill>
              </a:defRPr>
            </a:lvl1pPr>
          </a:lstStyle>
          <a:p>
            <a:r>
              <a:rPr lang="en-US"/>
              <a:t>&lt;Footer&gt;</a:t>
            </a:r>
            <a:endParaRPr lang="en-GB"/>
          </a:p>
        </p:txBody>
      </p:sp>
      <p:sp>
        <p:nvSpPr>
          <p:cNvPr id="6" name="Slide Number Placeholder 5"/>
          <p:cNvSpPr>
            <a:spLocks noGrp="1"/>
          </p:cNvSpPr>
          <p:nvPr>
            <p:ph type="sldNum" sz="quarter" idx="12"/>
          </p:nvPr>
        </p:nvSpPr>
        <p:spPr>
          <a:xfrm>
            <a:off x="664636" y="7151891"/>
            <a:ext cx="486833" cy="307776"/>
          </a:xfrm>
        </p:spPr>
        <p:txBody>
          <a:bodyPr/>
          <a:lstStyle>
            <a:lvl1pPr>
              <a:defRPr>
                <a:solidFill>
                  <a:schemeClr val="bg1"/>
                </a:solidFill>
              </a:defRPr>
            </a:lvl1pPr>
          </a:lstStyle>
          <a:p>
            <a:fld id="{8EFF3B3A-7EEA-5E44-8ED8-372942253657}" type="slidenum">
              <a:rPr lang="en-US"/>
              <a:pPr/>
              <a:t>‹#›</a:t>
            </a:fld>
            <a:endParaRPr lang="en-US"/>
          </a:p>
        </p:txBody>
      </p:sp>
      <p:sp>
        <p:nvSpPr>
          <p:cNvPr id="9" name="Titel 1">
            <a:extLst>
              <a:ext uri="{FF2B5EF4-FFF2-40B4-BE49-F238E27FC236}">
                <a16:creationId xmlns:a16="http://schemas.microsoft.com/office/drawing/2014/main" id="{AA54C769-2A75-CA42-A6CC-58C1ED6C83D0}"/>
              </a:ext>
            </a:extLst>
          </p:cNvPr>
          <p:cNvSpPr>
            <a:spLocks noGrp="1"/>
          </p:cNvSpPr>
          <p:nvPr>
            <p:ph type="title" hasCustomPrompt="1"/>
          </p:nvPr>
        </p:nvSpPr>
        <p:spPr>
          <a:xfrm>
            <a:off x="1350245" y="5782238"/>
            <a:ext cx="9355667" cy="656141"/>
          </a:xfrm>
          <a:prstGeom prst="rect">
            <a:avLst/>
          </a:prstGeom>
          <a:noFill/>
        </p:spPr>
        <p:txBody>
          <a:bodyPr wrap="square" rtlCol="0" anchor="t">
            <a:noAutofit/>
          </a:bodyPr>
          <a:lstStyle>
            <a:lvl1pPr marL="0" algn="ctr" defTabSz="609585" rtl="0" eaLnBrk="1" latinLnBrk="0" hangingPunct="1">
              <a:defRPr lang="en-GB" sz="2000" b="0" i="1" u="none" strike="noStrike" smtClean="0">
                <a:solidFill>
                  <a:srgbClr val="BC0033"/>
                </a:solidFill>
                <a:effectLst/>
                <a:latin typeface="+mn-lt"/>
              </a:defRPr>
            </a:lvl1pPr>
          </a:lstStyle>
          <a:p>
            <a:pPr marL="0" lvl="0" defTabSz="609585"/>
            <a:r>
              <a:rPr lang="en-GB" b="1" i="0" u="none" strike="noStrike">
                <a:solidFill>
                  <a:srgbClr val="FF0000"/>
                </a:solidFill>
                <a:effectLst/>
                <a:latin typeface="Calibri Light" panose="020F0302020204030204" pitchFamily="34" charset="0"/>
              </a:rPr>
              <a:t>If you send this slide out for pre-read, please consider </a:t>
            </a:r>
            <a:br>
              <a:rPr lang="en-GB" b="1" i="0" u="none" strike="noStrike">
                <a:solidFill>
                  <a:srgbClr val="FF0000"/>
                </a:solidFill>
                <a:effectLst/>
                <a:latin typeface="Calibri Light" panose="020F0302020204030204" pitchFamily="34" charset="0"/>
              </a:rPr>
            </a:br>
            <a:r>
              <a:rPr lang="en-GB" b="1" i="0" u="none" strike="noStrike">
                <a:solidFill>
                  <a:srgbClr val="FF0000"/>
                </a:solidFill>
                <a:effectLst/>
                <a:latin typeface="Calibri Light" panose="020F0302020204030204" pitchFamily="34" charset="0"/>
              </a:rPr>
              <a:t>deleting this logo slide to </a:t>
            </a:r>
            <a:r>
              <a:rPr lang="en-GB" b="1" i="0" u="none" strike="noStrike" err="1">
                <a:solidFill>
                  <a:srgbClr val="FF0000"/>
                </a:solidFill>
                <a:effectLst/>
                <a:latin typeface="Calibri Light" panose="020F0302020204030204" pitchFamily="34" charset="0"/>
              </a:rPr>
              <a:t>avoide</a:t>
            </a:r>
            <a:r>
              <a:rPr lang="en-GB" b="1" i="0" u="none" strike="noStrike">
                <a:solidFill>
                  <a:srgbClr val="FF0000"/>
                </a:solidFill>
                <a:effectLst/>
                <a:latin typeface="Calibri Light" panose="020F0302020204030204" pitchFamily="34" charset="0"/>
              </a:rPr>
              <a:t> unnecessary prints.</a:t>
            </a:r>
            <a:endParaRPr lang="da-DK"/>
          </a:p>
        </p:txBody>
      </p:sp>
    </p:spTree>
    <p:extLst>
      <p:ext uri="{BB962C8B-B14F-4D97-AF65-F5344CB8AC3E}">
        <p14:creationId xmlns:p14="http://schemas.microsoft.com/office/powerpoint/2010/main" val="36351942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rontpage plain">
    <p:spTree>
      <p:nvGrpSpPr>
        <p:cNvPr id="1" name=""/>
        <p:cNvGrpSpPr/>
        <p:nvPr/>
      </p:nvGrpSpPr>
      <p:grpSpPr>
        <a:xfrm>
          <a:off x="0" y="0"/>
          <a:ext cx="0" cy="0"/>
          <a:chOff x="0" y="0"/>
          <a:chExt cx="0" cy="0"/>
        </a:xfrm>
      </p:grpSpPr>
      <p:pic>
        <p:nvPicPr>
          <p:cNvPr id="20" name="Graphic 11">
            <a:extLst>
              <a:ext uri="{FF2B5EF4-FFF2-40B4-BE49-F238E27FC236}">
                <a16:creationId xmlns:a16="http://schemas.microsoft.com/office/drawing/2014/main" id="{CA149E4D-A159-46C6-9C17-F1ED87A31E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8940" y="4060118"/>
            <a:ext cx="11760000" cy="37020"/>
          </a:xfrm>
          <a:prstGeom prst="rect">
            <a:avLst/>
          </a:prstGeom>
        </p:spPr>
      </p:pic>
      <p:sp>
        <p:nvSpPr>
          <p:cNvPr id="2" name="Titel 1">
            <a:extLst>
              <a:ext uri="{FF2B5EF4-FFF2-40B4-BE49-F238E27FC236}">
                <a16:creationId xmlns:a16="http://schemas.microsoft.com/office/drawing/2014/main" id="{697379C2-4F0F-41FA-87EA-781256C55F20}"/>
              </a:ext>
            </a:extLst>
          </p:cNvPr>
          <p:cNvSpPr>
            <a:spLocks noGrp="1"/>
          </p:cNvSpPr>
          <p:nvPr>
            <p:ph type="title" hasCustomPrompt="1"/>
          </p:nvPr>
        </p:nvSpPr>
        <p:spPr>
          <a:xfrm>
            <a:off x="373215" y="3093318"/>
            <a:ext cx="9355667" cy="507133"/>
          </a:xfrm>
          <a:prstGeom prst="rect">
            <a:avLst/>
          </a:prstGeom>
          <a:noFill/>
        </p:spPr>
        <p:txBody>
          <a:bodyPr wrap="square" rtlCol="0" anchor="t">
            <a:noAutofit/>
          </a:bodyPr>
          <a:lstStyle>
            <a:lvl1pPr marL="0" algn="l" defTabSz="609585" rtl="0" eaLnBrk="1" latinLnBrk="0" hangingPunct="1">
              <a:defRPr lang="da-DK" sz="3467" kern="1200" baseline="0" dirty="0">
                <a:solidFill>
                  <a:srgbClr val="009CA6"/>
                </a:solidFill>
                <a:latin typeface="+mj-lt"/>
                <a:ea typeface="+mn-ea"/>
                <a:cs typeface="+mn-cs"/>
              </a:defRPr>
            </a:lvl1pPr>
          </a:lstStyle>
          <a:p>
            <a:pPr marL="0" lvl="0" defTabSz="609585"/>
            <a:r>
              <a:rPr lang="en-US"/>
              <a:t>A great headline can be added here</a:t>
            </a:r>
            <a:endParaRPr lang="da-DK"/>
          </a:p>
        </p:txBody>
      </p:sp>
      <p:sp>
        <p:nvSpPr>
          <p:cNvPr id="17" name="Pladsholder til tekst 16">
            <a:extLst>
              <a:ext uri="{FF2B5EF4-FFF2-40B4-BE49-F238E27FC236}">
                <a16:creationId xmlns:a16="http://schemas.microsoft.com/office/drawing/2014/main" id="{B3A9137C-A1F2-4CBB-8AF4-47A761FCDD6A}"/>
              </a:ext>
            </a:extLst>
          </p:cNvPr>
          <p:cNvSpPr>
            <a:spLocks noGrp="1"/>
          </p:cNvSpPr>
          <p:nvPr>
            <p:ph type="body" sz="quarter" idx="13" hasCustomPrompt="1"/>
          </p:nvPr>
        </p:nvSpPr>
        <p:spPr>
          <a:xfrm>
            <a:off x="373215" y="3600001"/>
            <a:ext cx="9355667" cy="502956"/>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Add a subtext here if you want to. Could also be the date, place, city and country</a:t>
            </a:r>
            <a:endParaRPr lang="da-DK"/>
          </a:p>
        </p:txBody>
      </p:sp>
      <p:sp>
        <p:nvSpPr>
          <p:cNvPr id="3" name="Pladsholder til dato 2">
            <a:extLst>
              <a:ext uri="{FF2B5EF4-FFF2-40B4-BE49-F238E27FC236}">
                <a16:creationId xmlns:a16="http://schemas.microsoft.com/office/drawing/2014/main" id="{916DA611-9CD3-4367-827B-032B6C1C4A6C}"/>
              </a:ext>
            </a:extLst>
          </p:cNvPr>
          <p:cNvSpPr>
            <a:spLocks noGrp="1"/>
          </p:cNvSpPr>
          <p:nvPr>
            <p:ph type="dt" sz="half" idx="14"/>
          </p:nvPr>
        </p:nvSpPr>
        <p:spPr/>
        <p:txBody>
          <a:body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1D60672F-65BB-4FBF-B4E6-75615ABEB5F6}"/>
              </a:ext>
            </a:extLst>
          </p:cNvPr>
          <p:cNvSpPr>
            <a:spLocks noGrp="1"/>
          </p:cNvSpPr>
          <p:nvPr>
            <p:ph type="ftr" sz="quarter" idx="15"/>
          </p:nvPr>
        </p:nvSpPr>
        <p:spPr/>
        <p:txBody>
          <a:bodyPr/>
          <a:lstStyle/>
          <a:p>
            <a:endParaRPr lang="en-US"/>
          </a:p>
        </p:txBody>
      </p:sp>
      <p:sp>
        <p:nvSpPr>
          <p:cNvPr id="8" name="Pladsholder til slidenummer 7">
            <a:extLst>
              <a:ext uri="{FF2B5EF4-FFF2-40B4-BE49-F238E27FC236}">
                <a16:creationId xmlns:a16="http://schemas.microsoft.com/office/drawing/2014/main" id="{2C822FFC-45AC-4A54-A746-0E5E985DDCD3}"/>
              </a:ext>
            </a:extLst>
          </p:cNvPr>
          <p:cNvSpPr>
            <a:spLocks noGrp="1"/>
          </p:cNvSpPr>
          <p:nvPr>
            <p:ph type="sldNum" sz="quarter" idx="16"/>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171843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1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ontpage teal">
    <p:spTree>
      <p:nvGrpSpPr>
        <p:cNvPr id="1" name=""/>
        <p:cNvGrpSpPr/>
        <p:nvPr/>
      </p:nvGrpSpPr>
      <p:grpSpPr>
        <a:xfrm>
          <a:off x="0" y="0"/>
          <a:ext cx="0" cy="0"/>
          <a:chOff x="0" y="0"/>
          <a:chExt cx="0" cy="0"/>
        </a:xfrm>
      </p:grpSpPr>
      <p:sp>
        <p:nvSpPr>
          <p:cNvPr id="8" name="Rectangle 15">
            <a:extLst>
              <a:ext uri="{FF2B5EF4-FFF2-40B4-BE49-F238E27FC236}">
                <a16:creationId xmlns:a16="http://schemas.microsoft.com/office/drawing/2014/main" id="{4E110B07-B6D5-4488-8940-04DB3D16F9CC}"/>
              </a:ext>
            </a:extLst>
          </p:cNvPr>
          <p:cNvSpPr/>
          <p:nvPr userDrawn="1"/>
        </p:nvSpPr>
        <p:spPr>
          <a:xfrm>
            <a:off x="2" y="1126549"/>
            <a:ext cx="12191999" cy="5762625"/>
          </a:xfrm>
          <a:prstGeom prst="rect">
            <a:avLst/>
          </a:prstGeom>
          <a:solidFill>
            <a:srgbClr val="009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Graphic 11">
            <a:extLst>
              <a:ext uri="{FF2B5EF4-FFF2-40B4-BE49-F238E27FC236}">
                <a16:creationId xmlns:a16="http://schemas.microsoft.com/office/drawing/2014/main" id="{9465C372-8591-436E-ACB2-9295A406D5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8940" y="4068793"/>
            <a:ext cx="11760000" cy="37044"/>
          </a:xfrm>
          <a:prstGeom prst="rect">
            <a:avLst/>
          </a:prstGeom>
        </p:spPr>
      </p:pic>
      <p:sp>
        <p:nvSpPr>
          <p:cNvPr id="2" name="Titel 1">
            <a:extLst>
              <a:ext uri="{FF2B5EF4-FFF2-40B4-BE49-F238E27FC236}">
                <a16:creationId xmlns:a16="http://schemas.microsoft.com/office/drawing/2014/main" id="{697379C2-4F0F-41FA-87EA-781256C55F20}"/>
              </a:ext>
            </a:extLst>
          </p:cNvPr>
          <p:cNvSpPr>
            <a:spLocks noGrp="1"/>
          </p:cNvSpPr>
          <p:nvPr>
            <p:ph type="title" hasCustomPrompt="1"/>
          </p:nvPr>
        </p:nvSpPr>
        <p:spPr>
          <a:xfrm>
            <a:off x="373215" y="3093318"/>
            <a:ext cx="9355667" cy="507133"/>
          </a:xfrm>
          <a:prstGeom prst="rect">
            <a:avLst/>
          </a:prstGeom>
          <a:noFill/>
        </p:spPr>
        <p:txBody>
          <a:bodyPr wrap="square" rtlCol="0" anchor="t">
            <a:noAutofit/>
          </a:bodyPr>
          <a:lstStyle>
            <a:lvl1pPr algn="l">
              <a:defRPr lang="da-DK" sz="3467">
                <a:solidFill>
                  <a:schemeClr val="bg1"/>
                </a:solidFill>
                <a:latin typeface="+mj-lt"/>
                <a:ea typeface="+mn-ea"/>
                <a:cs typeface="+mn-cs"/>
              </a:defRPr>
            </a:lvl1pPr>
          </a:lstStyle>
          <a:p>
            <a:pPr marL="0" lvl="0" defTabSz="609585"/>
            <a:r>
              <a:rPr lang="en-US"/>
              <a:t>A great headline can be added here</a:t>
            </a:r>
            <a:endParaRPr lang="da-DK"/>
          </a:p>
        </p:txBody>
      </p:sp>
      <p:sp>
        <p:nvSpPr>
          <p:cNvPr id="17" name="Pladsholder til tekst 16">
            <a:extLst>
              <a:ext uri="{FF2B5EF4-FFF2-40B4-BE49-F238E27FC236}">
                <a16:creationId xmlns:a16="http://schemas.microsoft.com/office/drawing/2014/main" id="{B3A9137C-A1F2-4CBB-8AF4-47A761FCDD6A}"/>
              </a:ext>
            </a:extLst>
          </p:cNvPr>
          <p:cNvSpPr>
            <a:spLocks noGrp="1"/>
          </p:cNvSpPr>
          <p:nvPr>
            <p:ph type="body" sz="quarter" idx="13" hasCustomPrompt="1"/>
          </p:nvPr>
        </p:nvSpPr>
        <p:spPr>
          <a:xfrm>
            <a:off x="373215" y="3636278"/>
            <a:ext cx="9355667" cy="502956"/>
          </a:xfrm>
          <a:prstGeom prst="rect">
            <a:avLst/>
          </a:prstGeom>
        </p:spPr>
        <p:txBody>
          <a:bodyPr>
            <a:noAutofit/>
          </a:bodyPr>
          <a:lstStyle>
            <a:lvl1pPr marL="0" algn="l" defTabSz="609585" rtl="0" eaLnBrk="1" latinLnBrk="0" hangingPunct="1">
              <a:defRPr lang="da-DK" sz="1733" b="0" kern="1200" dirty="0" smtClean="0">
                <a:solidFill>
                  <a:schemeClr val="bg1"/>
                </a:solidFill>
                <a:latin typeface="+mj-lt"/>
                <a:ea typeface="+mn-ea"/>
                <a:cs typeface="+mn-cs"/>
              </a:defRPr>
            </a:lvl1pPr>
          </a:lstStyle>
          <a:p>
            <a:pPr lvl="0"/>
            <a:r>
              <a:rPr lang="en-US"/>
              <a:t>Add a subtext here if you want to. Could also be the date, place, city and country</a:t>
            </a:r>
            <a:endParaRPr lang="da-DK"/>
          </a:p>
        </p:txBody>
      </p:sp>
      <p:sp>
        <p:nvSpPr>
          <p:cNvPr id="3" name="Pladsholder til dato 2">
            <a:extLst>
              <a:ext uri="{FF2B5EF4-FFF2-40B4-BE49-F238E27FC236}">
                <a16:creationId xmlns:a16="http://schemas.microsoft.com/office/drawing/2014/main" id="{32249EC9-7A8B-4EBB-83B2-2BB8BCB24CCD}"/>
              </a:ext>
            </a:extLst>
          </p:cNvPr>
          <p:cNvSpPr>
            <a:spLocks noGrp="1"/>
          </p:cNvSpPr>
          <p:nvPr>
            <p:ph type="dt" sz="half" idx="14"/>
          </p:nvPr>
        </p:nvSpPr>
        <p:spPr/>
        <p:txBody>
          <a:bodyPr/>
          <a:lstStyle>
            <a:lvl1pPr>
              <a:defRPr>
                <a:solidFill>
                  <a:schemeClr val="bg1"/>
                </a:solidFill>
              </a:defRPr>
            </a:lvl1p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32BFE2FA-E4CE-4E70-ACBC-366ABF50B7E4}"/>
              </a:ext>
            </a:extLst>
          </p:cNvPr>
          <p:cNvSpPr>
            <a:spLocks noGrp="1"/>
          </p:cNvSpPr>
          <p:nvPr>
            <p:ph type="ftr" sz="quarter" idx="15"/>
          </p:nvPr>
        </p:nvSpPr>
        <p:spPr/>
        <p:txBody>
          <a:bodyPr/>
          <a:lstStyle>
            <a:lvl1pPr>
              <a:defRPr>
                <a:solidFill>
                  <a:schemeClr val="bg1"/>
                </a:solidFill>
              </a:defRPr>
            </a:lvl1pPr>
          </a:lstStyle>
          <a:p>
            <a:endParaRPr lang="en-US"/>
          </a:p>
        </p:txBody>
      </p:sp>
      <p:sp>
        <p:nvSpPr>
          <p:cNvPr id="9" name="Pladsholder til slidenummer 8">
            <a:extLst>
              <a:ext uri="{FF2B5EF4-FFF2-40B4-BE49-F238E27FC236}">
                <a16:creationId xmlns:a16="http://schemas.microsoft.com/office/drawing/2014/main" id="{CD73F2CD-401A-4CFE-BE55-7228051075F9}"/>
              </a:ext>
            </a:extLst>
          </p:cNvPr>
          <p:cNvSpPr>
            <a:spLocks noGrp="1"/>
          </p:cNvSpPr>
          <p:nvPr>
            <p:ph type="sldNum" sz="quarter" idx="16"/>
          </p:nvPr>
        </p:nvSpPr>
        <p:spPr/>
        <p:txBody>
          <a:bodyPr/>
          <a:lstStyle>
            <a:lvl1pPr>
              <a:defRPr>
                <a:solidFill>
                  <a:schemeClr val="bg1"/>
                </a:solidFill>
              </a:defRPr>
            </a:lvl1pPr>
          </a:lstStyle>
          <a:p>
            <a:fld id="{24E63CB2-98B0-49EC-843D-EA0792C8B4C9}" type="slidenum">
              <a:rPr lang="en-US" smtClean="0"/>
              <a:pPr/>
              <a:t>‹#›</a:t>
            </a:fld>
            <a:endParaRPr lang="en-US"/>
          </a:p>
        </p:txBody>
      </p:sp>
    </p:spTree>
    <p:extLst>
      <p:ext uri="{BB962C8B-B14F-4D97-AF65-F5344CB8AC3E}">
        <p14:creationId xmlns:p14="http://schemas.microsoft.com/office/powerpoint/2010/main" val="119745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right)">
                                      <p:cBhvr>
                                        <p:cTn id="7"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rontpage image">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04416AAE-F179-44B6-9831-1211A2314EFD}"/>
              </a:ext>
            </a:extLst>
          </p:cNvPr>
          <p:cNvSpPr>
            <a:spLocks noGrp="1"/>
          </p:cNvSpPr>
          <p:nvPr>
            <p:ph type="title" hasCustomPrompt="1"/>
          </p:nvPr>
        </p:nvSpPr>
        <p:spPr>
          <a:xfrm>
            <a:off x="6511039" y="3139405"/>
            <a:ext cx="5296968" cy="562975"/>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3" name="Pladsholder til billede 2">
            <a:extLst>
              <a:ext uri="{FF2B5EF4-FFF2-40B4-BE49-F238E27FC236}">
                <a16:creationId xmlns:a16="http://schemas.microsoft.com/office/drawing/2014/main" id="{E5B92AAA-15C0-49C5-B4EA-90F86F4A22F2}"/>
              </a:ext>
            </a:extLst>
          </p:cNvPr>
          <p:cNvSpPr>
            <a:spLocks noGrp="1"/>
          </p:cNvSpPr>
          <p:nvPr>
            <p:ph type="pic" sz="quarter" idx="13" hasCustomPrompt="1"/>
          </p:nvPr>
        </p:nvSpPr>
        <p:spPr>
          <a:xfrm>
            <a:off x="2" y="0"/>
            <a:ext cx="6095999" cy="6858000"/>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pic>
        <p:nvPicPr>
          <p:cNvPr id="10" name="Graphic 11">
            <a:extLst>
              <a:ext uri="{FF2B5EF4-FFF2-40B4-BE49-F238E27FC236}">
                <a16:creationId xmlns:a16="http://schemas.microsoft.com/office/drawing/2014/main" id="{00656AAE-866E-4F97-9F52-CA9B6E3284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659719" y="3744975"/>
            <a:ext cx="11760000" cy="37020"/>
          </a:xfrm>
          <a:prstGeom prst="rect">
            <a:avLst/>
          </a:prstGeom>
        </p:spPr>
      </p:pic>
      <p:sp>
        <p:nvSpPr>
          <p:cNvPr id="8" name="Pladsholder til tekst 7">
            <a:extLst>
              <a:ext uri="{FF2B5EF4-FFF2-40B4-BE49-F238E27FC236}">
                <a16:creationId xmlns:a16="http://schemas.microsoft.com/office/drawing/2014/main" id="{C4F16E12-2F8B-4819-92EC-8B3233EB08BB}"/>
              </a:ext>
            </a:extLst>
          </p:cNvPr>
          <p:cNvSpPr>
            <a:spLocks noGrp="1"/>
          </p:cNvSpPr>
          <p:nvPr>
            <p:ph type="body" sz="quarter" idx="16"/>
          </p:nvPr>
        </p:nvSpPr>
        <p:spPr>
          <a:xfrm>
            <a:off x="6530860" y="3888001"/>
            <a:ext cx="5277147" cy="687916"/>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E0B4BE46-0BF6-42C7-B92D-83065034DFF0}"/>
              </a:ext>
            </a:extLst>
          </p:cNvPr>
          <p:cNvSpPr>
            <a:spLocks noGrp="1"/>
          </p:cNvSpPr>
          <p:nvPr>
            <p:ph type="dt" sz="half" idx="17"/>
          </p:nvPr>
        </p:nvSpPr>
        <p:spPr/>
        <p:txBody>
          <a:body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5731F026-D308-4296-A2D5-8A8A7BCB5834}"/>
              </a:ext>
            </a:extLst>
          </p:cNvPr>
          <p:cNvSpPr>
            <a:spLocks noGrp="1"/>
          </p:cNvSpPr>
          <p:nvPr>
            <p:ph type="ftr" sz="quarter" idx="18"/>
          </p:nvPr>
        </p:nvSpPr>
        <p:spPr/>
        <p:txBody>
          <a:bodyPr/>
          <a:lstStyle>
            <a:lvl1pPr>
              <a:defRPr>
                <a:solidFill>
                  <a:schemeClr val="bg1"/>
                </a:solidFill>
              </a:defRPr>
            </a:lvl1pPr>
          </a:lstStyle>
          <a:p>
            <a:endParaRPr lang="en-US"/>
          </a:p>
        </p:txBody>
      </p:sp>
      <p:sp>
        <p:nvSpPr>
          <p:cNvPr id="9" name="Pladsholder til slidenummer 8">
            <a:extLst>
              <a:ext uri="{FF2B5EF4-FFF2-40B4-BE49-F238E27FC236}">
                <a16:creationId xmlns:a16="http://schemas.microsoft.com/office/drawing/2014/main" id="{9A346B98-9570-48D7-B7AA-C2B247360BE8}"/>
              </a:ext>
            </a:extLst>
          </p:cNvPr>
          <p:cNvSpPr>
            <a:spLocks noGrp="1"/>
          </p:cNvSpPr>
          <p:nvPr>
            <p:ph type="sldNum" sz="quarter" idx="19"/>
          </p:nvPr>
        </p:nvSpPr>
        <p:spPr/>
        <p:txBody>
          <a:bodyPr/>
          <a:lstStyle>
            <a:lvl1pPr>
              <a:defRPr>
                <a:solidFill>
                  <a:schemeClr val="bg1"/>
                </a:solidFill>
              </a:defRPr>
            </a:lvl1pPr>
          </a:lstStyle>
          <a:p>
            <a:fld id="{24E63CB2-98B0-49EC-843D-EA0792C8B4C9}" type="slidenum">
              <a:rPr lang="en-US" smtClean="0"/>
              <a:pPr/>
              <a:t>‹#›</a:t>
            </a:fld>
            <a:endParaRPr lang="en-US"/>
          </a:p>
        </p:txBody>
      </p:sp>
    </p:spTree>
    <p:extLst>
      <p:ext uri="{BB962C8B-B14F-4D97-AF65-F5344CB8AC3E}">
        <p14:creationId xmlns:p14="http://schemas.microsoft.com/office/powerpoint/2010/main" val="2225056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1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lain">
    <p:spTree>
      <p:nvGrpSpPr>
        <p:cNvPr id="1" name=""/>
        <p:cNvGrpSpPr/>
        <p:nvPr/>
      </p:nvGrpSpPr>
      <p:grpSpPr>
        <a:xfrm>
          <a:off x="0" y="0"/>
          <a:ext cx="0" cy="0"/>
          <a:chOff x="0" y="0"/>
          <a:chExt cx="0" cy="0"/>
        </a:xfrm>
      </p:grpSpPr>
      <p:sp>
        <p:nvSpPr>
          <p:cNvPr id="6" name="Pladsholder til tekst 29">
            <a:extLst>
              <a:ext uri="{FF2B5EF4-FFF2-40B4-BE49-F238E27FC236}">
                <a16:creationId xmlns:a16="http://schemas.microsoft.com/office/drawing/2014/main" id="{6E97C351-2560-F141-8560-11E36661F453}"/>
              </a:ext>
            </a:extLst>
          </p:cNvPr>
          <p:cNvSpPr>
            <a:spLocks noGrp="1"/>
          </p:cNvSpPr>
          <p:nvPr>
            <p:ph type="body" sz="quarter" idx="14" hasCustomPrompt="1"/>
          </p:nvPr>
        </p:nvSpPr>
        <p:spPr>
          <a:xfrm>
            <a:off x="421342" y="2004662"/>
            <a:ext cx="11436225" cy="3771239"/>
          </a:xfrm>
          <a:prstGeom prst="roundRect">
            <a:avLst>
              <a:gd name="adj" fmla="val 0"/>
            </a:avLst>
          </a:prstGeom>
          <a:solidFill>
            <a:schemeClr val="bg1"/>
          </a:solidFill>
        </p:spPr>
        <p:txBody>
          <a:bodyPr lIns="216000" tIns="180000" rIns="108000" anchor="t" anchorCtr="0">
            <a:noAutofit/>
          </a:bodyPr>
          <a:lstStyle>
            <a:lvl1pPr marL="239178" marR="0" indent="-239178" algn="l" defTabSz="609585" rtl="0" eaLnBrk="1" fontAlgn="auto" latinLnBrk="0" hangingPunct="1">
              <a:lnSpc>
                <a:spcPct val="140000"/>
              </a:lnSpc>
              <a:spcBef>
                <a:spcPts val="0"/>
              </a:spcBef>
              <a:spcAft>
                <a:spcPts val="0"/>
              </a:spcAft>
              <a:buClrTx/>
              <a:buSzTx/>
              <a:buFont typeface="Arial" panose="020B0604020202020204" pitchFamily="34" charset="0"/>
              <a:buChar char="•"/>
              <a:tabLst/>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endParaRPr lang="en-US"/>
          </a:p>
        </p:txBody>
      </p:sp>
      <p:sp>
        <p:nvSpPr>
          <p:cNvPr id="13" name="Titel 1">
            <a:extLst>
              <a:ext uri="{FF2B5EF4-FFF2-40B4-BE49-F238E27FC236}">
                <a16:creationId xmlns:a16="http://schemas.microsoft.com/office/drawing/2014/main" id="{64FD4C7B-27B2-5E4F-B99C-C08203F9272F}"/>
              </a:ext>
            </a:extLst>
          </p:cNvPr>
          <p:cNvSpPr>
            <a:spLocks noGrp="1"/>
          </p:cNvSpPr>
          <p:nvPr>
            <p:ph type="title" hasCustomPrompt="1"/>
          </p:nvPr>
        </p:nvSpPr>
        <p:spPr>
          <a:xfrm>
            <a:off x="318545" y="720000"/>
            <a:ext cx="11539023"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Agenda</a:t>
            </a:r>
          </a:p>
        </p:txBody>
      </p:sp>
      <p:sp>
        <p:nvSpPr>
          <p:cNvPr id="14" name="Pladsholder til tekst 27">
            <a:extLst>
              <a:ext uri="{FF2B5EF4-FFF2-40B4-BE49-F238E27FC236}">
                <a16:creationId xmlns:a16="http://schemas.microsoft.com/office/drawing/2014/main" id="{0A512878-E90D-FD4C-BF1B-60524CC23BEA}"/>
              </a:ext>
            </a:extLst>
          </p:cNvPr>
          <p:cNvSpPr>
            <a:spLocks noGrp="1"/>
          </p:cNvSpPr>
          <p:nvPr>
            <p:ph type="body" sz="quarter" idx="13" hasCustomPrompt="1"/>
          </p:nvPr>
        </p:nvSpPr>
        <p:spPr>
          <a:xfrm>
            <a:off x="318545" y="1344000"/>
            <a:ext cx="11494737" cy="490235"/>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Text can be added here</a:t>
            </a:r>
          </a:p>
        </p:txBody>
      </p:sp>
      <p:sp>
        <p:nvSpPr>
          <p:cNvPr id="2" name="Pladsholder til dato 1">
            <a:extLst>
              <a:ext uri="{FF2B5EF4-FFF2-40B4-BE49-F238E27FC236}">
                <a16:creationId xmlns:a16="http://schemas.microsoft.com/office/drawing/2014/main" id="{7523CFD1-F369-4BE5-8BFE-76FCE5456DE4}"/>
              </a:ext>
            </a:extLst>
          </p:cNvPr>
          <p:cNvSpPr>
            <a:spLocks noGrp="1"/>
          </p:cNvSpPr>
          <p:nvPr>
            <p:ph type="dt" sz="half" idx="15"/>
          </p:nvPr>
        </p:nvSpPr>
        <p:spPr/>
        <p:txBody>
          <a:body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789FC1CD-C028-4F9C-ADBA-8B9931B45A24}"/>
              </a:ext>
            </a:extLst>
          </p:cNvPr>
          <p:cNvSpPr>
            <a:spLocks noGrp="1"/>
          </p:cNvSpPr>
          <p:nvPr>
            <p:ph type="ftr" sz="quarter" idx="16"/>
          </p:nvPr>
        </p:nvSpPr>
        <p:spPr/>
        <p:txBody>
          <a:bodyPr/>
          <a:lstStyle/>
          <a:p>
            <a:endParaRPr lang="en-US"/>
          </a:p>
        </p:txBody>
      </p:sp>
      <p:sp>
        <p:nvSpPr>
          <p:cNvPr id="8" name="Pladsholder til slidenummer 7">
            <a:extLst>
              <a:ext uri="{FF2B5EF4-FFF2-40B4-BE49-F238E27FC236}">
                <a16:creationId xmlns:a16="http://schemas.microsoft.com/office/drawing/2014/main" id="{D2810CC4-37DD-4098-B480-A9367D6C2BF6}"/>
              </a:ext>
            </a:extLst>
          </p:cNvPr>
          <p:cNvSpPr>
            <a:spLocks noGrp="1"/>
          </p:cNvSpPr>
          <p:nvPr>
            <p:ph type="sldNum" sz="quarter" idx="17"/>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4995698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grey">
    <p:spTree>
      <p:nvGrpSpPr>
        <p:cNvPr id="1" name=""/>
        <p:cNvGrpSpPr/>
        <p:nvPr/>
      </p:nvGrpSpPr>
      <p:grpSpPr>
        <a:xfrm>
          <a:off x="0" y="0"/>
          <a:ext cx="0" cy="0"/>
          <a:chOff x="0" y="0"/>
          <a:chExt cx="0" cy="0"/>
        </a:xfrm>
      </p:grpSpPr>
      <p:sp>
        <p:nvSpPr>
          <p:cNvPr id="6" name="Pladsholder til tekst 29">
            <a:extLst>
              <a:ext uri="{FF2B5EF4-FFF2-40B4-BE49-F238E27FC236}">
                <a16:creationId xmlns:a16="http://schemas.microsoft.com/office/drawing/2014/main" id="{DCFFA012-B9A2-FB47-B7F0-866A48C44825}"/>
              </a:ext>
            </a:extLst>
          </p:cNvPr>
          <p:cNvSpPr>
            <a:spLocks noGrp="1"/>
          </p:cNvSpPr>
          <p:nvPr>
            <p:ph type="body" sz="quarter" idx="14" hasCustomPrompt="1"/>
          </p:nvPr>
        </p:nvSpPr>
        <p:spPr>
          <a:xfrm>
            <a:off x="421342" y="2004662"/>
            <a:ext cx="11436225" cy="3771239"/>
          </a:xfrm>
          <a:prstGeom prst="roundRect">
            <a:avLst>
              <a:gd name="adj" fmla="val 0"/>
            </a:avLst>
          </a:prstGeom>
          <a:solidFill>
            <a:srgbClr val="EAEBEB"/>
          </a:solidFill>
        </p:spPr>
        <p:txBody>
          <a:bodyPr lIns="216000" tIns="180000" anchor="t" anchorCtr="0">
            <a:noAutofit/>
          </a:bodyPr>
          <a:lstStyle>
            <a:lvl1pPr marL="239178" marR="0" indent="-239178" algn="l" defTabSz="609585" rtl="0" eaLnBrk="1" fontAlgn="auto" latinLnBrk="0" hangingPunct="1">
              <a:lnSpc>
                <a:spcPct val="140000"/>
              </a:lnSpc>
              <a:spcBef>
                <a:spcPts val="0"/>
              </a:spcBef>
              <a:spcAft>
                <a:spcPts val="0"/>
              </a:spcAft>
              <a:buClrTx/>
              <a:buSzTx/>
              <a:buFont typeface="Arial" panose="020B0604020202020204" pitchFamily="34" charset="0"/>
              <a:buChar char="•"/>
              <a:tabLst/>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endParaRPr lang="en-US"/>
          </a:p>
        </p:txBody>
      </p:sp>
      <p:sp>
        <p:nvSpPr>
          <p:cNvPr id="7" name="Titel 1">
            <a:extLst>
              <a:ext uri="{FF2B5EF4-FFF2-40B4-BE49-F238E27FC236}">
                <a16:creationId xmlns:a16="http://schemas.microsoft.com/office/drawing/2014/main" id="{CFC3A4E5-D727-9C45-ABDE-C7DE643554F3}"/>
              </a:ext>
            </a:extLst>
          </p:cNvPr>
          <p:cNvSpPr>
            <a:spLocks noGrp="1"/>
          </p:cNvSpPr>
          <p:nvPr>
            <p:ph type="title" hasCustomPrompt="1"/>
          </p:nvPr>
        </p:nvSpPr>
        <p:spPr>
          <a:xfrm>
            <a:off x="318545" y="720000"/>
            <a:ext cx="11539023"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Agenda</a:t>
            </a:r>
          </a:p>
        </p:txBody>
      </p:sp>
      <p:sp>
        <p:nvSpPr>
          <p:cNvPr id="8" name="Pladsholder til tekst 27">
            <a:extLst>
              <a:ext uri="{FF2B5EF4-FFF2-40B4-BE49-F238E27FC236}">
                <a16:creationId xmlns:a16="http://schemas.microsoft.com/office/drawing/2014/main" id="{B2F75B42-88A2-5240-BD99-92A6F44B5F45}"/>
              </a:ext>
            </a:extLst>
          </p:cNvPr>
          <p:cNvSpPr>
            <a:spLocks noGrp="1"/>
          </p:cNvSpPr>
          <p:nvPr>
            <p:ph type="body" sz="quarter" idx="13" hasCustomPrompt="1"/>
          </p:nvPr>
        </p:nvSpPr>
        <p:spPr>
          <a:xfrm>
            <a:off x="318545" y="1344000"/>
            <a:ext cx="11494737" cy="490235"/>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Text can be added here</a:t>
            </a:r>
          </a:p>
        </p:txBody>
      </p:sp>
      <p:sp>
        <p:nvSpPr>
          <p:cNvPr id="2" name="Pladsholder til dato 1">
            <a:extLst>
              <a:ext uri="{FF2B5EF4-FFF2-40B4-BE49-F238E27FC236}">
                <a16:creationId xmlns:a16="http://schemas.microsoft.com/office/drawing/2014/main" id="{A732B07F-2CC5-4AFD-AEB0-06354073000D}"/>
              </a:ext>
            </a:extLst>
          </p:cNvPr>
          <p:cNvSpPr>
            <a:spLocks noGrp="1"/>
          </p:cNvSpPr>
          <p:nvPr>
            <p:ph type="dt" sz="half" idx="15"/>
          </p:nvPr>
        </p:nvSpPr>
        <p:spPr/>
        <p:txBody>
          <a:bodyPr/>
          <a:lstStyle/>
          <a:p>
            <a:pPr algn="r"/>
            <a:fld id="{3773308A-2C49-49AA-B7E5-A2C551993136}" type="datetimeFigureOut">
              <a:rPr lang="en-US" smtClean="0"/>
              <a:pPr algn="r"/>
              <a:t>4/18/2024</a:t>
            </a:fld>
            <a:endParaRPr lang="en-US"/>
          </a:p>
        </p:txBody>
      </p:sp>
      <p:sp>
        <p:nvSpPr>
          <p:cNvPr id="9" name="Pladsholder til sidefod 8">
            <a:extLst>
              <a:ext uri="{FF2B5EF4-FFF2-40B4-BE49-F238E27FC236}">
                <a16:creationId xmlns:a16="http://schemas.microsoft.com/office/drawing/2014/main" id="{6F5B6785-6D72-4FCB-9B42-6D7D4CE65529}"/>
              </a:ext>
            </a:extLst>
          </p:cNvPr>
          <p:cNvSpPr>
            <a:spLocks noGrp="1"/>
          </p:cNvSpPr>
          <p:nvPr>
            <p:ph type="ftr" sz="quarter" idx="16"/>
          </p:nvPr>
        </p:nvSpPr>
        <p:spPr/>
        <p:txBody>
          <a:bodyPr/>
          <a:lstStyle/>
          <a:p>
            <a:endParaRPr lang="en-US"/>
          </a:p>
        </p:txBody>
      </p:sp>
      <p:sp>
        <p:nvSpPr>
          <p:cNvPr id="10" name="Pladsholder til slidenummer 9">
            <a:extLst>
              <a:ext uri="{FF2B5EF4-FFF2-40B4-BE49-F238E27FC236}">
                <a16:creationId xmlns:a16="http://schemas.microsoft.com/office/drawing/2014/main" id="{25519D16-C87C-4DB7-8AC8-CE4560100AA5}"/>
              </a:ext>
            </a:extLst>
          </p:cNvPr>
          <p:cNvSpPr>
            <a:spLocks noGrp="1"/>
          </p:cNvSpPr>
          <p:nvPr>
            <p:ph type="sldNum" sz="quarter" idx="17"/>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37644618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teal ">
    <p:spTree>
      <p:nvGrpSpPr>
        <p:cNvPr id="1" name=""/>
        <p:cNvGrpSpPr/>
        <p:nvPr/>
      </p:nvGrpSpPr>
      <p:grpSpPr>
        <a:xfrm>
          <a:off x="0" y="0"/>
          <a:ext cx="0" cy="0"/>
          <a:chOff x="0" y="0"/>
          <a:chExt cx="0" cy="0"/>
        </a:xfrm>
      </p:grpSpPr>
      <p:sp>
        <p:nvSpPr>
          <p:cNvPr id="6" name="Pladsholder til tekst 29">
            <a:extLst>
              <a:ext uri="{FF2B5EF4-FFF2-40B4-BE49-F238E27FC236}">
                <a16:creationId xmlns:a16="http://schemas.microsoft.com/office/drawing/2014/main" id="{CBB39100-136E-2C40-951C-472545432DD7}"/>
              </a:ext>
            </a:extLst>
          </p:cNvPr>
          <p:cNvSpPr>
            <a:spLocks noGrp="1"/>
          </p:cNvSpPr>
          <p:nvPr>
            <p:ph type="body" sz="quarter" idx="14" hasCustomPrompt="1"/>
          </p:nvPr>
        </p:nvSpPr>
        <p:spPr>
          <a:xfrm>
            <a:off x="421342" y="2004662"/>
            <a:ext cx="11436225" cy="3771239"/>
          </a:xfrm>
          <a:prstGeom prst="roundRect">
            <a:avLst>
              <a:gd name="adj" fmla="val 0"/>
            </a:avLst>
          </a:prstGeom>
          <a:solidFill>
            <a:srgbClr val="009BA6"/>
          </a:solidFill>
        </p:spPr>
        <p:txBody>
          <a:bodyPr lIns="216000" tIns="180000" anchor="t" anchorCtr="0">
            <a:noAutofit/>
          </a:bodyPr>
          <a:lstStyle>
            <a:lvl1pPr marL="239178" marR="0" indent="-239178" algn="l" defTabSz="609585" rtl="0" eaLnBrk="1" fontAlgn="auto" latinLnBrk="0" hangingPunct="1">
              <a:lnSpc>
                <a:spcPct val="140000"/>
              </a:lnSpc>
              <a:spcBef>
                <a:spcPts val="0"/>
              </a:spcBef>
              <a:spcAft>
                <a:spcPts val="0"/>
              </a:spcAft>
              <a:buClrTx/>
              <a:buSzTx/>
              <a:buFont typeface="Arial" panose="020B0604020202020204" pitchFamily="34" charset="0"/>
              <a:buChar char="•"/>
              <a:tabLst/>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r>
              <a:rPr lang="en-US"/>
              <a:t>Text can be added here</a:t>
            </a:r>
          </a:p>
          <a:p>
            <a:pPr lvl="0"/>
            <a:endParaRPr lang="en-US"/>
          </a:p>
        </p:txBody>
      </p:sp>
      <p:sp>
        <p:nvSpPr>
          <p:cNvPr id="7" name="Titel 1">
            <a:extLst>
              <a:ext uri="{FF2B5EF4-FFF2-40B4-BE49-F238E27FC236}">
                <a16:creationId xmlns:a16="http://schemas.microsoft.com/office/drawing/2014/main" id="{98E672BA-F765-2843-9380-B4FA84CEB187}"/>
              </a:ext>
            </a:extLst>
          </p:cNvPr>
          <p:cNvSpPr>
            <a:spLocks noGrp="1"/>
          </p:cNvSpPr>
          <p:nvPr>
            <p:ph type="title" hasCustomPrompt="1"/>
          </p:nvPr>
        </p:nvSpPr>
        <p:spPr>
          <a:xfrm>
            <a:off x="318545" y="720000"/>
            <a:ext cx="11539023"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Agenda</a:t>
            </a:r>
          </a:p>
        </p:txBody>
      </p:sp>
      <p:sp>
        <p:nvSpPr>
          <p:cNvPr id="8" name="Pladsholder til tekst 27">
            <a:extLst>
              <a:ext uri="{FF2B5EF4-FFF2-40B4-BE49-F238E27FC236}">
                <a16:creationId xmlns:a16="http://schemas.microsoft.com/office/drawing/2014/main" id="{C311535D-2BB7-184B-80DA-D101AADFF805}"/>
              </a:ext>
            </a:extLst>
          </p:cNvPr>
          <p:cNvSpPr>
            <a:spLocks noGrp="1"/>
          </p:cNvSpPr>
          <p:nvPr>
            <p:ph type="body" sz="quarter" idx="13" hasCustomPrompt="1"/>
          </p:nvPr>
        </p:nvSpPr>
        <p:spPr>
          <a:xfrm>
            <a:off x="318545" y="1344000"/>
            <a:ext cx="11494737" cy="490235"/>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Text can be added here</a:t>
            </a:r>
          </a:p>
        </p:txBody>
      </p:sp>
      <p:sp>
        <p:nvSpPr>
          <p:cNvPr id="2" name="Pladsholder til dato 1">
            <a:extLst>
              <a:ext uri="{FF2B5EF4-FFF2-40B4-BE49-F238E27FC236}">
                <a16:creationId xmlns:a16="http://schemas.microsoft.com/office/drawing/2014/main" id="{3C0F41F2-36E9-49C8-88CE-4BE4E31BBD2D}"/>
              </a:ext>
            </a:extLst>
          </p:cNvPr>
          <p:cNvSpPr>
            <a:spLocks noGrp="1"/>
          </p:cNvSpPr>
          <p:nvPr>
            <p:ph type="dt" sz="half" idx="15"/>
          </p:nvPr>
        </p:nvSpPr>
        <p:spPr/>
        <p:txBody>
          <a:bodyPr/>
          <a:lstStyle/>
          <a:p>
            <a:pPr algn="r"/>
            <a:fld id="{3773308A-2C49-49AA-B7E5-A2C551993136}" type="datetimeFigureOut">
              <a:rPr lang="en-US" smtClean="0"/>
              <a:pPr algn="r"/>
              <a:t>4/18/2024</a:t>
            </a:fld>
            <a:endParaRPr lang="en-US"/>
          </a:p>
        </p:txBody>
      </p:sp>
      <p:sp>
        <p:nvSpPr>
          <p:cNvPr id="9" name="Pladsholder til sidefod 8">
            <a:extLst>
              <a:ext uri="{FF2B5EF4-FFF2-40B4-BE49-F238E27FC236}">
                <a16:creationId xmlns:a16="http://schemas.microsoft.com/office/drawing/2014/main" id="{B9982329-2D94-4C9E-80A2-B60425FE5B09}"/>
              </a:ext>
            </a:extLst>
          </p:cNvPr>
          <p:cNvSpPr>
            <a:spLocks noGrp="1"/>
          </p:cNvSpPr>
          <p:nvPr>
            <p:ph type="ftr" sz="quarter" idx="16"/>
          </p:nvPr>
        </p:nvSpPr>
        <p:spPr/>
        <p:txBody>
          <a:bodyPr/>
          <a:lstStyle/>
          <a:p>
            <a:endParaRPr lang="en-US"/>
          </a:p>
        </p:txBody>
      </p:sp>
      <p:sp>
        <p:nvSpPr>
          <p:cNvPr id="10" name="Pladsholder til slidenummer 9">
            <a:extLst>
              <a:ext uri="{FF2B5EF4-FFF2-40B4-BE49-F238E27FC236}">
                <a16:creationId xmlns:a16="http://schemas.microsoft.com/office/drawing/2014/main" id="{EC480CA5-4037-4930-ACEF-576310198A79}"/>
              </a:ext>
            </a:extLst>
          </p:cNvPr>
          <p:cNvSpPr>
            <a:spLocks noGrp="1"/>
          </p:cNvSpPr>
          <p:nvPr>
            <p:ph type="sldNum" sz="quarter" idx="17"/>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41175648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grey w. table">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493BED7A-1F77-5F4F-BB15-69C469BCB3AB}"/>
              </a:ext>
            </a:extLst>
          </p:cNvPr>
          <p:cNvSpPr>
            <a:spLocks noGrp="1"/>
          </p:cNvSpPr>
          <p:nvPr>
            <p:ph type="title" hasCustomPrompt="1"/>
          </p:nvPr>
        </p:nvSpPr>
        <p:spPr>
          <a:xfrm>
            <a:off x="318545" y="720000"/>
            <a:ext cx="11539023"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Agenda</a:t>
            </a:r>
          </a:p>
        </p:txBody>
      </p:sp>
      <p:sp>
        <p:nvSpPr>
          <p:cNvPr id="7" name="Pladsholder til tekst 27">
            <a:extLst>
              <a:ext uri="{FF2B5EF4-FFF2-40B4-BE49-F238E27FC236}">
                <a16:creationId xmlns:a16="http://schemas.microsoft.com/office/drawing/2014/main" id="{0F8C8785-F486-8344-85E4-9DC33DD9D7E5}"/>
              </a:ext>
            </a:extLst>
          </p:cNvPr>
          <p:cNvSpPr>
            <a:spLocks noGrp="1"/>
          </p:cNvSpPr>
          <p:nvPr>
            <p:ph type="body" sz="quarter" idx="13" hasCustomPrompt="1"/>
          </p:nvPr>
        </p:nvSpPr>
        <p:spPr>
          <a:xfrm>
            <a:off x="318545" y="1344000"/>
            <a:ext cx="11494737" cy="490235"/>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Text can be added here</a:t>
            </a:r>
          </a:p>
        </p:txBody>
      </p:sp>
      <p:sp>
        <p:nvSpPr>
          <p:cNvPr id="8" name="Pladsholder til tekst 29">
            <a:extLst>
              <a:ext uri="{FF2B5EF4-FFF2-40B4-BE49-F238E27FC236}">
                <a16:creationId xmlns:a16="http://schemas.microsoft.com/office/drawing/2014/main" id="{61B52DCF-D40B-DF4B-8979-B7FFA0EBDD2C}"/>
              </a:ext>
            </a:extLst>
          </p:cNvPr>
          <p:cNvSpPr>
            <a:spLocks noGrp="1"/>
          </p:cNvSpPr>
          <p:nvPr>
            <p:ph type="body" sz="quarter" idx="14" hasCustomPrompt="1"/>
          </p:nvPr>
        </p:nvSpPr>
        <p:spPr>
          <a:xfrm>
            <a:off x="421343" y="2004662"/>
            <a:ext cx="5948069" cy="440292"/>
          </a:xfrm>
          <a:prstGeom prst="roundRect">
            <a:avLst>
              <a:gd name="adj" fmla="val 0"/>
            </a:avLst>
          </a:prstGeom>
          <a:solidFill>
            <a:srgbClr val="C9C9C9"/>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Subject</a:t>
            </a:r>
          </a:p>
        </p:txBody>
      </p:sp>
      <p:sp>
        <p:nvSpPr>
          <p:cNvPr id="9" name="Pladsholder til tekst 29">
            <a:extLst>
              <a:ext uri="{FF2B5EF4-FFF2-40B4-BE49-F238E27FC236}">
                <a16:creationId xmlns:a16="http://schemas.microsoft.com/office/drawing/2014/main" id="{51ACBFD8-1048-F341-AE8D-77F007131EAA}"/>
              </a:ext>
            </a:extLst>
          </p:cNvPr>
          <p:cNvSpPr>
            <a:spLocks noGrp="1"/>
          </p:cNvSpPr>
          <p:nvPr>
            <p:ph type="body" sz="quarter" idx="15" hasCustomPrompt="1"/>
          </p:nvPr>
        </p:nvSpPr>
        <p:spPr>
          <a:xfrm>
            <a:off x="421343" y="2493759"/>
            <a:ext cx="594806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0" name="Pladsholder til tekst 29">
            <a:extLst>
              <a:ext uri="{FF2B5EF4-FFF2-40B4-BE49-F238E27FC236}">
                <a16:creationId xmlns:a16="http://schemas.microsoft.com/office/drawing/2014/main" id="{961A058C-AE12-5943-985D-C49931410E42}"/>
              </a:ext>
            </a:extLst>
          </p:cNvPr>
          <p:cNvSpPr>
            <a:spLocks noGrp="1"/>
          </p:cNvSpPr>
          <p:nvPr>
            <p:ph type="body" sz="quarter" idx="16" hasCustomPrompt="1"/>
          </p:nvPr>
        </p:nvSpPr>
        <p:spPr>
          <a:xfrm>
            <a:off x="421343" y="2988709"/>
            <a:ext cx="594806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1" name="Pladsholder til tekst 29">
            <a:extLst>
              <a:ext uri="{FF2B5EF4-FFF2-40B4-BE49-F238E27FC236}">
                <a16:creationId xmlns:a16="http://schemas.microsoft.com/office/drawing/2014/main" id="{26BFEBB9-6953-8740-B82B-53FC7D89BDC7}"/>
              </a:ext>
            </a:extLst>
          </p:cNvPr>
          <p:cNvSpPr>
            <a:spLocks noGrp="1"/>
          </p:cNvSpPr>
          <p:nvPr>
            <p:ph type="body" sz="quarter" idx="17" hasCustomPrompt="1"/>
          </p:nvPr>
        </p:nvSpPr>
        <p:spPr>
          <a:xfrm>
            <a:off x="421343" y="3483658"/>
            <a:ext cx="594806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2" name="Pladsholder til tekst 29">
            <a:extLst>
              <a:ext uri="{FF2B5EF4-FFF2-40B4-BE49-F238E27FC236}">
                <a16:creationId xmlns:a16="http://schemas.microsoft.com/office/drawing/2014/main" id="{6E910161-CAB9-E14B-85AE-EB5922015633}"/>
              </a:ext>
            </a:extLst>
          </p:cNvPr>
          <p:cNvSpPr>
            <a:spLocks noGrp="1"/>
          </p:cNvSpPr>
          <p:nvPr>
            <p:ph type="body" sz="quarter" idx="18" hasCustomPrompt="1"/>
          </p:nvPr>
        </p:nvSpPr>
        <p:spPr>
          <a:xfrm>
            <a:off x="421343" y="3978607"/>
            <a:ext cx="594806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3" name="Pladsholder til tekst 29">
            <a:extLst>
              <a:ext uri="{FF2B5EF4-FFF2-40B4-BE49-F238E27FC236}">
                <a16:creationId xmlns:a16="http://schemas.microsoft.com/office/drawing/2014/main" id="{6405D00B-1334-7F43-91F1-87B394963861}"/>
              </a:ext>
            </a:extLst>
          </p:cNvPr>
          <p:cNvSpPr>
            <a:spLocks noGrp="1"/>
          </p:cNvSpPr>
          <p:nvPr>
            <p:ph type="body" sz="quarter" idx="19" hasCustomPrompt="1"/>
          </p:nvPr>
        </p:nvSpPr>
        <p:spPr>
          <a:xfrm>
            <a:off x="421343" y="4473557"/>
            <a:ext cx="594806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4" name="Pladsholder til tekst 29">
            <a:extLst>
              <a:ext uri="{FF2B5EF4-FFF2-40B4-BE49-F238E27FC236}">
                <a16:creationId xmlns:a16="http://schemas.microsoft.com/office/drawing/2014/main" id="{FBFE6AE9-A095-264D-B33F-90C47D76341E}"/>
              </a:ext>
            </a:extLst>
          </p:cNvPr>
          <p:cNvSpPr>
            <a:spLocks noGrp="1"/>
          </p:cNvSpPr>
          <p:nvPr>
            <p:ph type="body" sz="quarter" idx="20" hasCustomPrompt="1"/>
          </p:nvPr>
        </p:nvSpPr>
        <p:spPr>
          <a:xfrm>
            <a:off x="421343" y="4968506"/>
            <a:ext cx="594806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5" name="Pladsholder til tekst 29">
            <a:extLst>
              <a:ext uri="{FF2B5EF4-FFF2-40B4-BE49-F238E27FC236}">
                <a16:creationId xmlns:a16="http://schemas.microsoft.com/office/drawing/2014/main" id="{2B48D5FD-BE2D-4E4C-A629-EFB42F90ABDA}"/>
              </a:ext>
            </a:extLst>
          </p:cNvPr>
          <p:cNvSpPr>
            <a:spLocks noGrp="1"/>
          </p:cNvSpPr>
          <p:nvPr>
            <p:ph type="body" sz="quarter" idx="21" hasCustomPrompt="1"/>
          </p:nvPr>
        </p:nvSpPr>
        <p:spPr>
          <a:xfrm>
            <a:off x="421343" y="5467637"/>
            <a:ext cx="594806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6" name="Pladsholder til tekst 29">
            <a:extLst>
              <a:ext uri="{FF2B5EF4-FFF2-40B4-BE49-F238E27FC236}">
                <a16:creationId xmlns:a16="http://schemas.microsoft.com/office/drawing/2014/main" id="{65BA38BB-1000-5B46-AE18-A059A5359985}"/>
              </a:ext>
            </a:extLst>
          </p:cNvPr>
          <p:cNvSpPr>
            <a:spLocks noGrp="1"/>
          </p:cNvSpPr>
          <p:nvPr>
            <p:ph type="body" sz="quarter" idx="22" hasCustomPrompt="1"/>
          </p:nvPr>
        </p:nvSpPr>
        <p:spPr>
          <a:xfrm>
            <a:off x="6424383" y="2004662"/>
            <a:ext cx="3563132" cy="440292"/>
          </a:xfrm>
          <a:prstGeom prst="roundRect">
            <a:avLst>
              <a:gd name="adj" fmla="val 0"/>
            </a:avLst>
          </a:prstGeom>
          <a:solidFill>
            <a:srgbClr val="C9C9C9"/>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Responsible</a:t>
            </a:r>
          </a:p>
        </p:txBody>
      </p:sp>
      <p:sp>
        <p:nvSpPr>
          <p:cNvPr id="17" name="Pladsholder til tekst 29">
            <a:extLst>
              <a:ext uri="{FF2B5EF4-FFF2-40B4-BE49-F238E27FC236}">
                <a16:creationId xmlns:a16="http://schemas.microsoft.com/office/drawing/2014/main" id="{B2704AE5-37F3-5D4C-AA1D-F4C4443133BA}"/>
              </a:ext>
            </a:extLst>
          </p:cNvPr>
          <p:cNvSpPr>
            <a:spLocks noGrp="1"/>
          </p:cNvSpPr>
          <p:nvPr>
            <p:ph type="body" sz="quarter" idx="23" hasCustomPrompt="1"/>
          </p:nvPr>
        </p:nvSpPr>
        <p:spPr>
          <a:xfrm>
            <a:off x="6424383" y="2493759"/>
            <a:ext cx="3563132"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18" name="Pladsholder til tekst 29">
            <a:extLst>
              <a:ext uri="{FF2B5EF4-FFF2-40B4-BE49-F238E27FC236}">
                <a16:creationId xmlns:a16="http://schemas.microsoft.com/office/drawing/2014/main" id="{36143AAE-5944-AC4E-BD5C-DCD75147092C}"/>
              </a:ext>
            </a:extLst>
          </p:cNvPr>
          <p:cNvSpPr>
            <a:spLocks noGrp="1"/>
          </p:cNvSpPr>
          <p:nvPr>
            <p:ph type="body" sz="quarter" idx="24" hasCustomPrompt="1"/>
          </p:nvPr>
        </p:nvSpPr>
        <p:spPr>
          <a:xfrm>
            <a:off x="6424383" y="2988709"/>
            <a:ext cx="3563132"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19" name="Pladsholder til tekst 29">
            <a:extLst>
              <a:ext uri="{FF2B5EF4-FFF2-40B4-BE49-F238E27FC236}">
                <a16:creationId xmlns:a16="http://schemas.microsoft.com/office/drawing/2014/main" id="{AC9C62BB-2CC1-1B49-9C9E-6B7075949356}"/>
              </a:ext>
            </a:extLst>
          </p:cNvPr>
          <p:cNvSpPr>
            <a:spLocks noGrp="1"/>
          </p:cNvSpPr>
          <p:nvPr>
            <p:ph type="body" sz="quarter" idx="25" hasCustomPrompt="1"/>
          </p:nvPr>
        </p:nvSpPr>
        <p:spPr>
          <a:xfrm>
            <a:off x="6424383" y="3483658"/>
            <a:ext cx="3563132"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0" name="Pladsholder til tekst 29">
            <a:extLst>
              <a:ext uri="{FF2B5EF4-FFF2-40B4-BE49-F238E27FC236}">
                <a16:creationId xmlns:a16="http://schemas.microsoft.com/office/drawing/2014/main" id="{803EF42E-1A98-FB4B-8BF9-D9A31A46113D}"/>
              </a:ext>
            </a:extLst>
          </p:cNvPr>
          <p:cNvSpPr>
            <a:spLocks noGrp="1"/>
          </p:cNvSpPr>
          <p:nvPr>
            <p:ph type="body" sz="quarter" idx="26" hasCustomPrompt="1"/>
          </p:nvPr>
        </p:nvSpPr>
        <p:spPr>
          <a:xfrm>
            <a:off x="6424383" y="3978607"/>
            <a:ext cx="3563132"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1" name="Pladsholder til tekst 29">
            <a:extLst>
              <a:ext uri="{FF2B5EF4-FFF2-40B4-BE49-F238E27FC236}">
                <a16:creationId xmlns:a16="http://schemas.microsoft.com/office/drawing/2014/main" id="{B2D2E07B-A972-BB40-9100-E99A737FB555}"/>
              </a:ext>
            </a:extLst>
          </p:cNvPr>
          <p:cNvSpPr>
            <a:spLocks noGrp="1"/>
          </p:cNvSpPr>
          <p:nvPr>
            <p:ph type="body" sz="quarter" idx="27" hasCustomPrompt="1"/>
          </p:nvPr>
        </p:nvSpPr>
        <p:spPr>
          <a:xfrm>
            <a:off x="6424383" y="4473557"/>
            <a:ext cx="3563132"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2" name="Pladsholder til tekst 29">
            <a:extLst>
              <a:ext uri="{FF2B5EF4-FFF2-40B4-BE49-F238E27FC236}">
                <a16:creationId xmlns:a16="http://schemas.microsoft.com/office/drawing/2014/main" id="{AEAB914E-B2D1-7942-8A51-97265FEE09B5}"/>
              </a:ext>
            </a:extLst>
          </p:cNvPr>
          <p:cNvSpPr>
            <a:spLocks noGrp="1"/>
          </p:cNvSpPr>
          <p:nvPr>
            <p:ph type="body" sz="quarter" idx="28" hasCustomPrompt="1"/>
          </p:nvPr>
        </p:nvSpPr>
        <p:spPr>
          <a:xfrm>
            <a:off x="6424383" y="4968506"/>
            <a:ext cx="3563132"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3" name="Pladsholder til tekst 29">
            <a:extLst>
              <a:ext uri="{FF2B5EF4-FFF2-40B4-BE49-F238E27FC236}">
                <a16:creationId xmlns:a16="http://schemas.microsoft.com/office/drawing/2014/main" id="{188BC8E3-FB74-6740-ACC0-4694A8C6732D}"/>
              </a:ext>
            </a:extLst>
          </p:cNvPr>
          <p:cNvSpPr>
            <a:spLocks noGrp="1"/>
          </p:cNvSpPr>
          <p:nvPr>
            <p:ph type="body" sz="quarter" idx="29" hasCustomPrompt="1"/>
          </p:nvPr>
        </p:nvSpPr>
        <p:spPr>
          <a:xfrm>
            <a:off x="6424383" y="5467637"/>
            <a:ext cx="3563132"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4" name="Pladsholder til tekst 29">
            <a:extLst>
              <a:ext uri="{FF2B5EF4-FFF2-40B4-BE49-F238E27FC236}">
                <a16:creationId xmlns:a16="http://schemas.microsoft.com/office/drawing/2014/main" id="{6410E918-B6DE-464B-8910-77033EF47B98}"/>
              </a:ext>
            </a:extLst>
          </p:cNvPr>
          <p:cNvSpPr>
            <a:spLocks noGrp="1"/>
          </p:cNvSpPr>
          <p:nvPr>
            <p:ph type="body" sz="quarter" idx="30" hasCustomPrompt="1"/>
          </p:nvPr>
        </p:nvSpPr>
        <p:spPr>
          <a:xfrm>
            <a:off x="10044223" y="2004662"/>
            <a:ext cx="1769059" cy="440292"/>
          </a:xfrm>
          <a:prstGeom prst="roundRect">
            <a:avLst>
              <a:gd name="adj" fmla="val 0"/>
            </a:avLst>
          </a:prstGeom>
          <a:solidFill>
            <a:srgbClr val="C9C9C9"/>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ime</a:t>
            </a:r>
          </a:p>
        </p:txBody>
      </p:sp>
      <p:sp>
        <p:nvSpPr>
          <p:cNvPr id="25" name="Pladsholder til tekst 29">
            <a:extLst>
              <a:ext uri="{FF2B5EF4-FFF2-40B4-BE49-F238E27FC236}">
                <a16:creationId xmlns:a16="http://schemas.microsoft.com/office/drawing/2014/main" id="{51E906E4-28EB-7747-AEA2-1D436BFF0050}"/>
              </a:ext>
            </a:extLst>
          </p:cNvPr>
          <p:cNvSpPr>
            <a:spLocks noGrp="1"/>
          </p:cNvSpPr>
          <p:nvPr>
            <p:ph type="body" sz="quarter" idx="31" hasCustomPrompt="1"/>
          </p:nvPr>
        </p:nvSpPr>
        <p:spPr>
          <a:xfrm>
            <a:off x="10044223" y="2493759"/>
            <a:ext cx="176905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6" name="Pladsholder til tekst 29">
            <a:extLst>
              <a:ext uri="{FF2B5EF4-FFF2-40B4-BE49-F238E27FC236}">
                <a16:creationId xmlns:a16="http://schemas.microsoft.com/office/drawing/2014/main" id="{B56F700B-2456-F44B-A27C-78160506A02B}"/>
              </a:ext>
            </a:extLst>
          </p:cNvPr>
          <p:cNvSpPr>
            <a:spLocks noGrp="1"/>
          </p:cNvSpPr>
          <p:nvPr>
            <p:ph type="body" sz="quarter" idx="32" hasCustomPrompt="1"/>
          </p:nvPr>
        </p:nvSpPr>
        <p:spPr>
          <a:xfrm>
            <a:off x="10044223" y="2988709"/>
            <a:ext cx="176905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7" name="Pladsholder til tekst 29">
            <a:extLst>
              <a:ext uri="{FF2B5EF4-FFF2-40B4-BE49-F238E27FC236}">
                <a16:creationId xmlns:a16="http://schemas.microsoft.com/office/drawing/2014/main" id="{BA014772-73C4-B640-934D-199214C66E60}"/>
              </a:ext>
            </a:extLst>
          </p:cNvPr>
          <p:cNvSpPr>
            <a:spLocks noGrp="1"/>
          </p:cNvSpPr>
          <p:nvPr>
            <p:ph type="body" sz="quarter" idx="33" hasCustomPrompt="1"/>
          </p:nvPr>
        </p:nvSpPr>
        <p:spPr>
          <a:xfrm>
            <a:off x="10044223" y="3483658"/>
            <a:ext cx="176905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8" name="Pladsholder til tekst 29">
            <a:extLst>
              <a:ext uri="{FF2B5EF4-FFF2-40B4-BE49-F238E27FC236}">
                <a16:creationId xmlns:a16="http://schemas.microsoft.com/office/drawing/2014/main" id="{9CFB68CF-B811-CB45-B94F-2983904D5CBA}"/>
              </a:ext>
            </a:extLst>
          </p:cNvPr>
          <p:cNvSpPr>
            <a:spLocks noGrp="1"/>
          </p:cNvSpPr>
          <p:nvPr>
            <p:ph type="body" sz="quarter" idx="34" hasCustomPrompt="1"/>
          </p:nvPr>
        </p:nvSpPr>
        <p:spPr>
          <a:xfrm>
            <a:off x="10044223" y="3978607"/>
            <a:ext cx="176905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9" name="Pladsholder til tekst 29">
            <a:extLst>
              <a:ext uri="{FF2B5EF4-FFF2-40B4-BE49-F238E27FC236}">
                <a16:creationId xmlns:a16="http://schemas.microsoft.com/office/drawing/2014/main" id="{C6AC15FD-50FA-0D43-89BC-2B78D3DB4A26}"/>
              </a:ext>
            </a:extLst>
          </p:cNvPr>
          <p:cNvSpPr>
            <a:spLocks noGrp="1"/>
          </p:cNvSpPr>
          <p:nvPr>
            <p:ph type="body" sz="quarter" idx="35" hasCustomPrompt="1"/>
          </p:nvPr>
        </p:nvSpPr>
        <p:spPr>
          <a:xfrm>
            <a:off x="10044223" y="4473557"/>
            <a:ext cx="176905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30" name="Pladsholder til tekst 29">
            <a:extLst>
              <a:ext uri="{FF2B5EF4-FFF2-40B4-BE49-F238E27FC236}">
                <a16:creationId xmlns:a16="http://schemas.microsoft.com/office/drawing/2014/main" id="{9E595184-AEDF-B742-B753-81F76C342A95}"/>
              </a:ext>
            </a:extLst>
          </p:cNvPr>
          <p:cNvSpPr>
            <a:spLocks noGrp="1"/>
          </p:cNvSpPr>
          <p:nvPr>
            <p:ph type="body" sz="quarter" idx="36" hasCustomPrompt="1"/>
          </p:nvPr>
        </p:nvSpPr>
        <p:spPr>
          <a:xfrm>
            <a:off x="10044223" y="4968506"/>
            <a:ext cx="1769059" cy="440292"/>
          </a:xfrm>
          <a:prstGeom prst="roundRect">
            <a:avLst>
              <a:gd name="adj" fmla="val 0"/>
            </a:avLst>
          </a:prstGeom>
          <a:solidFill>
            <a:srgbClr val="DDDDDD"/>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31" name="Pladsholder til tekst 29">
            <a:extLst>
              <a:ext uri="{FF2B5EF4-FFF2-40B4-BE49-F238E27FC236}">
                <a16:creationId xmlns:a16="http://schemas.microsoft.com/office/drawing/2014/main" id="{284189A6-2872-7B42-B69A-44739C3E65BC}"/>
              </a:ext>
            </a:extLst>
          </p:cNvPr>
          <p:cNvSpPr>
            <a:spLocks noGrp="1"/>
          </p:cNvSpPr>
          <p:nvPr>
            <p:ph type="body" sz="quarter" idx="37" hasCustomPrompt="1"/>
          </p:nvPr>
        </p:nvSpPr>
        <p:spPr>
          <a:xfrm>
            <a:off x="10044223" y="5467637"/>
            <a:ext cx="1769059" cy="440292"/>
          </a:xfrm>
          <a:prstGeom prst="roundRect">
            <a:avLst>
              <a:gd name="adj" fmla="val 0"/>
            </a:avLst>
          </a:prstGeom>
          <a:solidFill>
            <a:srgbClr val="EAEBEB"/>
          </a:solidFill>
        </p:spPr>
        <p:txBody>
          <a:bodyPr lIns="162000" anchor="ct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 name="Pladsholder til dato 1">
            <a:extLst>
              <a:ext uri="{FF2B5EF4-FFF2-40B4-BE49-F238E27FC236}">
                <a16:creationId xmlns:a16="http://schemas.microsoft.com/office/drawing/2014/main" id="{4FAE49FF-242A-45A3-AF50-4663D88949EC}"/>
              </a:ext>
            </a:extLst>
          </p:cNvPr>
          <p:cNvSpPr>
            <a:spLocks noGrp="1"/>
          </p:cNvSpPr>
          <p:nvPr>
            <p:ph type="dt" sz="half" idx="38"/>
          </p:nvPr>
        </p:nvSpPr>
        <p:spPr/>
        <p:txBody>
          <a:bodyPr/>
          <a:lstStyle/>
          <a:p>
            <a:pPr algn="r"/>
            <a:fld id="{3773308A-2C49-49AA-B7E5-A2C551993136}" type="datetimeFigureOut">
              <a:rPr lang="en-US" smtClean="0"/>
              <a:pPr algn="r"/>
              <a:t>4/18/2024</a:t>
            </a:fld>
            <a:endParaRPr lang="en-US"/>
          </a:p>
        </p:txBody>
      </p:sp>
      <p:sp>
        <p:nvSpPr>
          <p:cNvPr id="32" name="Pladsholder til sidefod 31">
            <a:extLst>
              <a:ext uri="{FF2B5EF4-FFF2-40B4-BE49-F238E27FC236}">
                <a16:creationId xmlns:a16="http://schemas.microsoft.com/office/drawing/2014/main" id="{46AD78E1-3FC2-49B9-BC0F-3A87D92F9A73}"/>
              </a:ext>
            </a:extLst>
          </p:cNvPr>
          <p:cNvSpPr>
            <a:spLocks noGrp="1"/>
          </p:cNvSpPr>
          <p:nvPr>
            <p:ph type="ftr" sz="quarter" idx="39"/>
          </p:nvPr>
        </p:nvSpPr>
        <p:spPr/>
        <p:txBody>
          <a:bodyPr/>
          <a:lstStyle/>
          <a:p>
            <a:endParaRPr lang="en-US"/>
          </a:p>
        </p:txBody>
      </p:sp>
      <p:sp>
        <p:nvSpPr>
          <p:cNvPr id="33" name="Pladsholder til slidenummer 32">
            <a:extLst>
              <a:ext uri="{FF2B5EF4-FFF2-40B4-BE49-F238E27FC236}">
                <a16:creationId xmlns:a16="http://schemas.microsoft.com/office/drawing/2014/main" id="{8E67BCE4-3E9C-4177-9FDB-506EA4404C10}"/>
              </a:ext>
            </a:extLst>
          </p:cNvPr>
          <p:cNvSpPr>
            <a:spLocks noGrp="1"/>
          </p:cNvSpPr>
          <p:nvPr>
            <p:ph type="sldNum" sz="quarter" idx="40"/>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405968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DAC Intro">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1375718" y="1219201"/>
            <a:ext cx="9794789" cy="1985818"/>
          </a:xfrm>
          <a:prstGeom prst="rect">
            <a:avLst/>
          </a:prstGeom>
        </p:spPr>
        <p:txBody>
          <a:bodyPr wrap="square" tIns="0" bIns="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7" name="Text Placeholder 10"/>
          <p:cNvSpPr>
            <a:spLocks noGrp="1"/>
          </p:cNvSpPr>
          <p:nvPr>
            <p:ph type="body" sz="quarter" idx="10" hasCustomPrompt="1"/>
          </p:nvPr>
        </p:nvSpPr>
        <p:spPr>
          <a:xfrm>
            <a:off x="4313382" y="238351"/>
            <a:ext cx="3565236" cy="650047"/>
          </a:xfrm>
          <a:prstGeom prst="rect">
            <a:avLst/>
          </a:prstGeom>
        </p:spPr>
        <p:txBody>
          <a:bodyPr/>
          <a:lstStyle>
            <a:lvl1pPr marL="0" indent="0" algn="ctr">
              <a:buNone/>
              <a:defRPr sz="3600" b="1" baseline="0">
                <a:solidFill>
                  <a:schemeClr val="tx1"/>
                </a:solidFill>
                <a:latin typeface="Arial" panose="020B0604020202020204" pitchFamily="34" charset="0"/>
                <a:cs typeface="Arial" panose="020B0604020202020204" pitchFamily="34" charset="0"/>
              </a:defRPr>
            </a:lvl1pPr>
          </a:lstStyle>
          <a:p>
            <a:pPr lvl="0"/>
            <a:r>
              <a:rPr lang="en-US" dirty="0"/>
              <a:t>Title</a:t>
            </a:r>
          </a:p>
        </p:txBody>
      </p:sp>
      <p:sp>
        <p:nvSpPr>
          <p:cNvPr id="8" name="Picture Placeholder 13"/>
          <p:cNvSpPr>
            <a:spLocks noGrp="1"/>
          </p:cNvSpPr>
          <p:nvPr>
            <p:ph type="pic" sz="quarter" idx="11"/>
          </p:nvPr>
        </p:nvSpPr>
        <p:spPr>
          <a:xfrm>
            <a:off x="3371273" y="3585721"/>
            <a:ext cx="5772727" cy="2457608"/>
          </a:xfrm>
          <a:prstGeom prst="rect">
            <a:avLst/>
          </a:prstGeom>
        </p:spPr>
        <p:txBody>
          <a:bodyPr/>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0858745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teal w. table">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55477443-7C71-1B46-98BA-149F04FD461B}"/>
              </a:ext>
            </a:extLst>
          </p:cNvPr>
          <p:cNvSpPr>
            <a:spLocks noGrp="1"/>
          </p:cNvSpPr>
          <p:nvPr>
            <p:ph type="title" hasCustomPrompt="1"/>
          </p:nvPr>
        </p:nvSpPr>
        <p:spPr>
          <a:xfrm>
            <a:off x="318545" y="720000"/>
            <a:ext cx="11539023"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Agenda</a:t>
            </a:r>
          </a:p>
        </p:txBody>
      </p:sp>
      <p:sp>
        <p:nvSpPr>
          <p:cNvPr id="7" name="Pladsholder til tekst 27">
            <a:extLst>
              <a:ext uri="{FF2B5EF4-FFF2-40B4-BE49-F238E27FC236}">
                <a16:creationId xmlns:a16="http://schemas.microsoft.com/office/drawing/2014/main" id="{AA37BD82-797A-A249-B428-BBC1894D1DCA}"/>
              </a:ext>
            </a:extLst>
          </p:cNvPr>
          <p:cNvSpPr>
            <a:spLocks noGrp="1"/>
          </p:cNvSpPr>
          <p:nvPr>
            <p:ph type="body" sz="quarter" idx="13" hasCustomPrompt="1"/>
          </p:nvPr>
        </p:nvSpPr>
        <p:spPr>
          <a:xfrm>
            <a:off x="318545" y="1344000"/>
            <a:ext cx="11494737" cy="490235"/>
          </a:xfrm>
          <a:prstGeom prst="rect">
            <a:avLst/>
          </a:prstGeom>
        </p:spPr>
        <p:txBody>
          <a:bodyPr>
            <a:noAutofit/>
          </a:bodyPr>
          <a:lstStyle>
            <a:lvl1pPr marL="0" indent="0" algn="l" defTabSz="609585" rtl="0" eaLnBrk="1" latinLnBrk="0" hangingPunct="1">
              <a:buFontTx/>
              <a:buNone/>
              <a:defRPr lang="da-DK" sz="1733" b="0" kern="1200" dirty="0" smtClean="0">
                <a:solidFill>
                  <a:schemeClr val="tx1"/>
                </a:solidFill>
                <a:latin typeface="+mj-lt"/>
                <a:ea typeface="+mn-ea"/>
                <a:cs typeface="+mn-cs"/>
              </a:defRPr>
            </a:lvl1pPr>
          </a:lstStyle>
          <a:p>
            <a:pPr lvl="0"/>
            <a:r>
              <a:rPr lang="en-US"/>
              <a:t>Text can be added here</a:t>
            </a:r>
          </a:p>
        </p:txBody>
      </p:sp>
      <p:sp>
        <p:nvSpPr>
          <p:cNvPr id="8" name="Pladsholder til tekst 29">
            <a:extLst>
              <a:ext uri="{FF2B5EF4-FFF2-40B4-BE49-F238E27FC236}">
                <a16:creationId xmlns:a16="http://schemas.microsoft.com/office/drawing/2014/main" id="{DF79A661-9CA3-2445-8C3C-01722F4C68AC}"/>
              </a:ext>
            </a:extLst>
          </p:cNvPr>
          <p:cNvSpPr>
            <a:spLocks noGrp="1"/>
          </p:cNvSpPr>
          <p:nvPr>
            <p:ph type="body" sz="quarter" idx="14" hasCustomPrompt="1"/>
          </p:nvPr>
        </p:nvSpPr>
        <p:spPr>
          <a:xfrm>
            <a:off x="421343" y="2004662"/>
            <a:ext cx="5948069" cy="440292"/>
          </a:xfrm>
          <a:prstGeom prst="roundRect">
            <a:avLst>
              <a:gd name="adj" fmla="val 0"/>
            </a:avLst>
          </a:prstGeom>
          <a:solidFill>
            <a:srgbClr val="009BA6"/>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Subject</a:t>
            </a:r>
          </a:p>
        </p:txBody>
      </p:sp>
      <p:sp>
        <p:nvSpPr>
          <p:cNvPr id="9" name="Pladsholder til tekst 29">
            <a:extLst>
              <a:ext uri="{FF2B5EF4-FFF2-40B4-BE49-F238E27FC236}">
                <a16:creationId xmlns:a16="http://schemas.microsoft.com/office/drawing/2014/main" id="{39DA3BB6-133A-8043-9D30-BFF250BD2A66}"/>
              </a:ext>
            </a:extLst>
          </p:cNvPr>
          <p:cNvSpPr>
            <a:spLocks noGrp="1"/>
          </p:cNvSpPr>
          <p:nvPr>
            <p:ph type="body" sz="quarter" idx="15" hasCustomPrompt="1"/>
          </p:nvPr>
        </p:nvSpPr>
        <p:spPr>
          <a:xfrm>
            <a:off x="421343" y="2493759"/>
            <a:ext cx="594806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0" name="Pladsholder til tekst 29">
            <a:extLst>
              <a:ext uri="{FF2B5EF4-FFF2-40B4-BE49-F238E27FC236}">
                <a16:creationId xmlns:a16="http://schemas.microsoft.com/office/drawing/2014/main" id="{E91E654F-2C95-F84A-96F0-680B5DD72735}"/>
              </a:ext>
            </a:extLst>
          </p:cNvPr>
          <p:cNvSpPr>
            <a:spLocks noGrp="1"/>
          </p:cNvSpPr>
          <p:nvPr>
            <p:ph type="body" sz="quarter" idx="16" hasCustomPrompt="1"/>
          </p:nvPr>
        </p:nvSpPr>
        <p:spPr>
          <a:xfrm>
            <a:off x="421343" y="2988709"/>
            <a:ext cx="594806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1" name="Pladsholder til tekst 29">
            <a:extLst>
              <a:ext uri="{FF2B5EF4-FFF2-40B4-BE49-F238E27FC236}">
                <a16:creationId xmlns:a16="http://schemas.microsoft.com/office/drawing/2014/main" id="{11C04526-C41A-C548-B730-0928733D2948}"/>
              </a:ext>
            </a:extLst>
          </p:cNvPr>
          <p:cNvSpPr>
            <a:spLocks noGrp="1"/>
          </p:cNvSpPr>
          <p:nvPr>
            <p:ph type="body" sz="quarter" idx="17" hasCustomPrompt="1"/>
          </p:nvPr>
        </p:nvSpPr>
        <p:spPr>
          <a:xfrm>
            <a:off x="421343" y="3483658"/>
            <a:ext cx="594806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2" name="Pladsholder til tekst 29">
            <a:extLst>
              <a:ext uri="{FF2B5EF4-FFF2-40B4-BE49-F238E27FC236}">
                <a16:creationId xmlns:a16="http://schemas.microsoft.com/office/drawing/2014/main" id="{CBCF0DC5-0792-2844-BAE1-E673CFCAC8DB}"/>
              </a:ext>
            </a:extLst>
          </p:cNvPr>
          <p:cNvSpPr>
            <a:spLocks noGrp="1"/>
          </p:cNvSpPr>
          <p:nvPr>
            <p:ph type="body" sz="quarter" idx="18" hasCustomPrompt="1"/>
          </p:nvPr>
        </p:nvSpPr>
        <p:spPr>
          <a:xfrm>
            <a:off x="421343" y="3978607"/>
            <a:ext cx="594806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3" name="Pladsholder til tekst 29">
            <a:extLst>
              <a:ext uri="{FF2B5EF4-FFF2-40B4-BE49-F238E27FC236}">
                <a16:creationId xmlns:a16="http://schemas.microsoft.com/office/drawing/2014/main" id="{F6156CD7-E18D-784C-ADB6-26487EEA10F1}"/>
              </a:ext>
            </a:extLst>
          </p:cNvPr>
          <p:cNvSpPr>
            <a:spLocks noGrp="1"/>
          </p:cNvSpPr>
          <p:nvPr>
            <p:ph type="body" sz="quarter" idx="19" hasCustomPrompt="1"/>
          </p:nvPr>
        </p:nvSpPr>
        <p:spPr>
          <a:xfrm>
            <a:off x="421343" y="4473557"/>
            <a:ext cx="594806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4" name="Pladsholder til tekst 29">
            <a:extLst>
              <a:ext uri="{FF2B5EF4-FFF2-40B4-BE49-F238E27FC236}">
                <a16:creationId xmlns:a16="http://schemas.microsoft.com/office/drawing/2014/main" id="{637D9EC0-F9B2-124C-B00B-0DEE5015CEF1}"/>
              </a:ext>
            </a:extLst>
          </p:cNvPr>
          <p:cNvSpPr>
            <a:spLocks noGrp="1"/>
          </p:cNvSpPr>
          <p:nvPr>
            <p:ph type="body" sz="quarter" idx="20" hasCustomPrompt="1"/>
          </p:nvPr>
        </p:nvSpPr>
        <p:spPr>
          <a:xfrm>
            <a:off x="421343" y="4968506"/>
            <a:ext cx="594806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5" name="Pladsholder til tekst 29">
            <a:extLst>
              <a:ext uri="{FF2B5EF4-FFF2-40B4-BE49-F238E27FC236}">
                <a16:creationId xmlns:a16="http://schemas.microsoft.com/office/drawing/2014/main" id="{43AE9BE4-AA2D-4E46-A8D1-FB1DD333C68B}"/>
              </a:ext>
            </a:extLst>
          </p:cNvPr>
          <p:cNvSpPr>
            <a:spLocks noGrp="1"/>
          </p:cNvSpPr>
          <p:nvPr>
            <p:ph type="body" sz="quarter" idx="21" hasCustomPrompt="1"/>
          </p:nvPr>
        </p:nvSpPr>
        <p:spPr>
          <a:xfrm>
            <a:off x="421343" y="5467637"/>
            <a:ext cx="594806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ext can be added here</a:t>
            </a:r>
          </a:p>
        </p:txBody>
      </p:sp>
      <p:sp>
        <p:nvSpPr>
          <p:cNvPr id="16" name="Pladsholder til tekst 29">
            <a:extLst>
              <a:ext uri="{FF2B5EF4-FFF2-40B4-BE49-F238E27FC236}">
                <a16:creationId xmlns:a16="http://schemas.microsoft.com/office/drawing/2014/main" id="{74985B4D-35F7-004B-8A0D-0DE9F63A4E38}"/>
              </a:ext>
            </a:extLst>
          </p:cNvPr>
          <p:cNvSpPr>
            <a:spLocks noGrp="1"/>
          </p:cNvSpPr>
          <p:nvPr>
            <p:ph type="body" sz="quarter" idx="22" hasCustomPrompt="1"/>
          </p:nvPr>
        </p:nvSpPr>
        <p:spPr>
          <a:xfrm>
            <a:off x="6424383" y="2004662"/>
            <a:ext cx="3563132" cy="440292"/>
          </a:xfrm>
          <a:prstGeom prst="roundRect">
            <a:avLst>
              <a:gd name="adj" fmla="val 0"/>
            </a:avLst>
          </a:prstGeom>
          <a:solidFill>
            <a:srgbClr val="009BA6"/>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Responsible</a:t>
            </a:r>
          </a:p>
        </p:txBody>
      </p:sp>
      <p:sp>
        <p:nvSpPr>
          <p:cNvPr id="17" name="Pladsholder til tekst 29">
            <a:extLst>
              <a:ext uri="{FF2B5EF4-FFF2-40B4-BE49-F238E27FC236}">
                <a16:creationId xmlns:a16="http://schemas.microsoft.com/office/drawing/2014/main" id="{38118361-F731-F14C-A63F-543186D1C795}"/>
              </a:ext>
            </a:extLst>
          </p:cNvPr>
          <p:cNvSpPr>
            <a:spLocks noGrp="1"/>
          </p:cNvSpPr>
          <p:nvPr>
            <p:ph type="body" sz="quarter" idx="23" hasCustomPrompt="1"/>
          </p:nvPr>
        </p:nvSpPr>
        <p:spPr>
          <a:xfrm>
            <a:off x="6424383" y="2493759"/>
            <a:ext cx="3563132"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18" name="Pladsholder til tekst 29">
            <a:extLst>
              <a:ext uri="{FF2B5EF4-FFF2-40B4-BE49-F238E27FC236}">
                <a16:creationId xmlns:a16="http://schemas.microsoft.com/office/drawing/2014/main" id="{98B6728A-E42D-BC44-A898-C50CCCB119D4}"/>
              </a:ext>
            </a:extLst>
          </p:cNvPr>
          <p:cNvSpPr>
            <a:spLocks noGrp="1"/>
          </p:cNvSpPr>
          <p:nvPr>
            <p:ph type="body" sz="quarter" idx="24" hasCustomPrompt="1"/>
          </p:nvPr>
        </p:nvSpPr>
        <p:spPr>
          <a:xfrm>
            <a:off x="6424383" y="2988709"/>
            <a:ext cx="3563132"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19" name="Pladsholder til tekst 29">
            <a:extLst>
              <a:ext uri="{FF2B5EF4-FFF2-40B4-BE49-F238E27FC236}">
                <a16:creationId xmlns:a16="http://schemas.microsoft.com/office/drawing/2014/main" id="{4B56C4B5-07D6-9E46-AC74-C3B32C040D6B}"/>
              </a:ext>
            </a:extLst>
          </p:cNvPr>
          <p:cNvSpPr>
            <a:spLocks noGrp="1"/>
          </p:cNvSpPr>
          <p:nvPr>
            <p:ph type="body" sz="quarter" idx="25" hasCustomPrompt="1"/>
          </p:nvPr>
        </p:nvSpPr>
        <p:spPr>
          <a:xfrm>
            <a:off x="6424383" y="3483658"/>
            <a:ext cx="3563132"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0" name="Pladsholder til tekst 29">
            <a:extLst>
              <a:ext uri="{FF2B5EF4-FFF2-40B4-BE49-F238E27FC236}">
                <a16:creationId xmlns:a16="http://schemas.microsoft.com/office/drawing/2014/main" id="{B964A1C6-C7B0-484D-88D9-728B9BDED41A}"/>
              </a:ext>
            </a:extLst>
          </p:cNvPr>
          <p:cNvSpPr>
            <a:spLocks noGrp="1"/>
          </p:cNvSpPr>
          <p:nvPr>
            <p:ph type="body" sz="quarter" idx="26" hasCustomPrompt="1"/>
          </p:nvPr>
        </p:nvSpPr>
        <p:spPr>
          <a:xfrm>
            <a:off x="6424383" y="3978607"/>
            <a:ext cx="3563132"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1" name="Pladsholder til tekst 29">
            <a:extLst>
              <a:ext uri="{FF2B5EF4-FFF2-40B4-BE49-F238E27FC236}">
                <a16:creationId xmlns:a16="http://schemas.microsoft.com/office/drawing/2014/main" id="{4D6F89D1-0599-4D47-9CF5-D4E178DF60E8}"/>
              </a:ext>
            </a:extLst>
          </p:cNvPr>
          <p:cNvSpPr>
            <a:spLocks noGrp="1"/>
          </p:cNvSpPr>
          <p:nvPr>
            <p:ph type="body" sz="quarter" idx="27" hasCustomPrompt="1"/>
          </p:nvPr>
        </p:nvSpPr>
        <p:spPr>
          <a:xfrm>
            <a:off x="6424383" y="4473557"/>
            <a:ext cx="3563132"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2" name="Pladsholder til tekst 29">
            <a:extLst>
              <a:ext uri="{FF2B5EF4-FFF2-40B4-BE49-F238E27FC236}">
                <a16:creationId xmlns:a16="http://schemas.microsoft.com/office/drawing/2014/main" id="{1B275B1F-4B88-7245-AFAF-2FBD5ABE8BA2}"/>
              </a:ext>
            </a:extLst>
          </p:cNvPr>
          <p:cNvSpPr>
            <a:spLocks noGrp="1"/>
          </p:cNvSpPr>
          <p:nvPr>
            <p:ph type="body" sz="quarter" idx="28" hasCustomPrompt="1"/>
          </p:nvPr>
        </p:nvSpPr>
        <p:spPr>
          <a:xfrm>
            <a:off x="6424383" y="4968506"/>
            <a:ext cx="3563132"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3" name="Pladsholder til tekst 29">
            <a:extLst>
              <a:ext uri="{FF2B5EF4-FFF2-40B4-BE49-F238E27FC236}">
                <a16:creationId xmlns:a16="http://schemas.microsoft.com/office/drawing/2014/main" id="{FC7DA795-12B0-3345-BE33-A25A717A67C6}"/>
              </a:ext>
            </a:extLst>
          </p:cNvPr>
          <p:cNvSpPr>
            <a:spLocks noGrp="1"/>
          </p:cNvSpPr>
          <p:nvPr>
            <p:ph type="body" sz="quarter" idx="29" hasCustomPrompt="1"/>
          </p:nvPr>
        </p:nvSpPr>
        <p:spPr>
          <a:xfrm>
            <a:off x="6424383" y="5467637"/>
            <a:ext cx="3563132"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Name</a:t>
            </a:r>
          </a:p>
        </p:txBody>
      </p:sp>
      <p:sp>
        <p:nvSpPr>
          <p:cNvPr id="24" name="Pladsholder til tekst 29">
            <a:extLst>
              <a:ext uri="{FF2B5EF4-FFF2-40B4-BE49-F238E27FC236}">
                <a16:creationId xmlns:a16="http://schemas.microsoft.com/office/drawing/2014/main" id="{F05514ED-F0B5-0F4B-AE96-17925EAD36F6}"/>
              </a:ext>
            </a:extLst>
          </p:cNvPr>
          <p:cNvSpPr>
            <a:spLocks noGrp="1"/>
          </p:cNvSpPr>
          <p:nvPr>
            <p:ph type="body" sz="quarter" idx="30" hasCustomPrompt="1"/>
          </p:nvPr>
        </p:nvSpPr>
        <p:spPr>
          <a:xfrm>
            <a:off x="10044223" y="2004662"/>
            <a:ext cx="1769059" cy="440292"/>
          </a:xfrm>
          <a:prstGeom prst="roundRect">
            <a:avLst>
              <a:gd name="adj" fmla="val 0"/>
            </a:avLst>
          </a:prstGeom>
          <a:solidFill>
            <a:srgbClr val="009BA6"/>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Time</a:t>
            </a:r>
          </a:p>
        </p:txBody>
      </p:sp>
      <p:sp>
        <p:nvSpPr>
          <p:cNvPr id="25" name="Pladsholder til tekst 29">
            <a:extLst>
              <a:ext uri="{FF2B5EF4-FFF2-40B4-BE49-F238E27FC236}">
                <a16:creationId xmlns:a16="http://schemas.microsoft.com/office/drawing/2014/main" id="{45872B67-C689-904F-A05F-1DDCC0150A0F}"/>
              </a:ext>
            </a:extLst>
          </p:cNvPr>
          <p:cNvSpPr>
            <a:spLocks noGrp="1"/>
          </p:cNvSpPr>
          <p:nvPr>
            <p:ph type="body" sz="quarter" idx="31" hasCustomPrompt="1"/>
          </p:nvPr>
        </p:nvSpPr>
        <p:spPr>
          <a:xfrm>
            <a:off x="10044223" y="2493759"/>
            <a:ext cx="176905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6" name="Pladsholder til tekst 29">
            <a:extLst>
              <a:ext uri="{FF2B5EF4-FFF2-40B4-BE49-F238E27FC236}">
                <a16:creationId xmlns:a16="http://schemas.microsoft.com/office/drawing/2014/main" id="{C4E92584-10D3-D44F-9305-8EA779B100FE}"/>
              </a:ext>
            </a:extLst>
          </p:cNvPr>
          <p:cNvSpPr>
            <a:spLocks noGrp="1"/>
          </p:cNvSpPr>
          <p:nvPr>
            <p:ph type="body" sz="quarter" idx="32" hasCustomPrompt="1"/>
          </p:nvPr>
        </p:nvSpPr>
        <p:spPr>
          <a:xfrm>
            <a:off x="10044223" y="2988709"/>
            <a:ext cx="176905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7" name="Pladsholder til tekst 29">
            <a:extLst>
              <a:ext uri="{FF2B5EF4-FFF2-40B4-BE49-F238E27FC236}">
                <a16:creationId xmlns:a16="http://schemas.microsoft.com/office/drawing/2014/main" id="{EFFE82FE-A218-984F-A2DF-99CEB9EE6CCD}"/>
              </a:ext>
            </a:extLst>
          </p:cNvPr>
          <p:cNvSpPr>
            <a:spLocks noGrp="1"/>
          </p:cNvSpPr>
          <p:nvPr>
            <p:ph type="body" sz="quarter" idx="33" hasCustomPrompt="1"/>
          </p:nvPr>
        </p:nvSpPr>
        <p:spPr>
          <a:xfrm>
            <a:off x="10044223" y="3483658"/>
            <a:ext cx="176905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8" name="Pladsholder til tekst 29">
            <a:extLst>
              <a:ext uri="{FF2B5EF4-FFF2-40B4-BE49-F238E27FC236}">
                <a16:creationId xmlns:a16="http://schemas.microsoft.com/office/drawing/2014/main" id="{17D21BEB-281F-314A-BA15-84E1E43E19A2}"/>
              </a:ext>
            </a:extLst>
          </p:cNvPr>
          <p:cNvSpPr>
            <a:spLocks noGrp="1"/>
          </p:cNvSpPr>
          <p:nvPr>
            <p:ph type="body" sz="quarter" idx="34" hasCustomPrompt="1"/>
          </p:nvPr>
        </p:nvSpPr>
        <p:spPr>
          <a:xfrm>
            <a:off x="10044223" y="3978607"/>
            <a:ext cx="176905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9" name="Pladsholder til tekst 29">
            <a:extLst>
              <a:ext uri="{FF2B5EF4-FFF2-40B4-BE49-F238E27FC236}">
                <a16:creationId xmlns:a16="http://schemas.microsoft.com/office/drawing/2014/main" id="{984AAE1A-53B4-134C-878C-29B8CC709C49}"/>
              </a:ext>
            </a:extLst>
          </p:cNvPr>
          <p:cNvSpPr>
            <a:spLocks noGrp="1"/>
          </p:cNvSpPr>
          <p:nvPr>
            <p:ph type="body" sz="quarter" idx="35" hasCustomPrompt="1"/>
          </p:nvPr>
        </p:nvSpPr>
        <p:spPr>
          <a:xfrm>
            <a:off x="10044223" y="4473557"/>
            <a:ext cx="176905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30" name="Pladsholder til tekst 29">
            <a:extLst>
              <a:ext uri="{FF2B5EF4-FFF2-40B4-BE49-F238E27FC236}">
                <a16:creationId xmlns:a16="http://schemas.microsoft.com/office/drawing/2014/main" id="{BC06067B-5E98-164F-A605-0A0039A0F9F3}"/>
              </a:ext>
            </a:extLst>
          </p:cNvPr>
          <p:cNvSpPr>
            <a:spLocks noGrp="1"/>
          </p:cNvSpPr>
          <p:nvPr>
            <p:ph type="body" sz="quarter" idx="36" hasCustomPrompt="1"/>
          </p:nvPr>
        </p:nvSpPr>
        <p:spPr>
          <a:xfrm>
            <a:off x="10044223" y="4968506"/>
            <a:ext cx="1769059" cy="440292"/>
          </a:xfrm>
          <a:prstGeom prst="roundRect">
            <a:avLst>
              <a:gd name="adj" fmla="val 0"/>
            </a:avLst>
          </a:prstGeom>
          <a:solidFill>
            <a:srgbClr val="7FCDD2"/>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31" name="Pladsholder til tekst 29">
            <a:extLst>
              <a:ext uri="{FF2B5EF4-FFF2-40B4-BE49-F238E27FC236}">
                <a16:creationId xmlns:a16="http://schemas.microsoft.com/office/drawing/2014/main" id="{989B8333-72CA-7E40-AF93-B5241AC55313}"/>
              </a:ext>
            </a:extLst>
          </p:cNvPr>
          <p:cNvSpPr>
            <a:spLocks noGrp="1"/>
          </p:cNvSpPr>
          <p:nvPr>
            <p:ph type="body" sz="quarter" idx="37" hasCustomPrompt="1"/>
          </p:nvPr>
        </p:nvSpPr>
        <p:spPr>
          <a:xfrm>
            <a:off x="10044223" y="5467637"/>
            <a:ext cx="1769059" cy="440292"/>
          </a:xfrm>
          <a:prstGeom prst="roundRect">
            <a:avLst>
              <a:gd name="adj" fmla="val 0"/>
            </a:avLst>
          </a:prstGeom>
          <a:solidFill>
            <a:srgbClr val="B2E1E4"/>
          </a:solidFill>
        </p:spPr>
        <p:txBody>
          <a:bodyPr lIns="162000" anchor="ctr">
            <a:noAutofit/>
          </a:bodyPr>
          <a:lstStyle>
            <a:lvl1pPr marL="0" indent="0" algn="l" defTabSz="609585" rtl="0" eaLnBrk="1" latinLnBrk="0" hangingPunct="1">
              <a:buFontTx/>
              <a:buNone/>
              <a:defRPr lang="da-DK" sz="1733" b="0" kern="1200" dirty="0" smtClean="0">
                <a:solidFill>
                  <a:schemeClr val="bg1"/>
                </a:solidFill>
                <a:latin typeface="+mj-lt"/>
                <a:ea typeface="+mn-ea"/>
                <a:cs typeface="+mn-cs"/>
              </a:defRPr>
            </a:lvl1pPr>
            <a:lvl2pPr marL="0" algn="l" defTabSz="609585" rtl="0" eaLnBrk="1" latinLnBrk="0" hangingPunct="1">
              <a:defRPr lang="da-DK" sz="1733" kern="1200" dirty="0" smtClean="0">
                <a:solidFill>
                  <a:schemeClr val="bg1"/>
                </a:solidFill>
                <a:latin typeface="+mj-lt"/>
                <a:ea typeface="+mn-ea"/>
                <a:cs typeface="+mn-cs"/>
              </a:defRPr>
            </a:lvl2pPr>
            <a:lvl3pPr marL="0" algn="l" defTabSz="609585" rtl="0" eaLnBrk="1" latinLnBrk="0" hangingPunct="1">
              <a:defRPr lang="da-DK" sz="1733" kern="1200" dirty="0" smtClean="0">
                <a:solidFill>
                  <a:schemeClr val="bg1"/>
                </a:solidFill>
                <a:latin typeface="+mj-lt"/>
                <a:ea typeface="+mn-ea"/>
                <a:cs typeface="+mn-cs"/>
              </a:defRPr>
            </a:lvl3pPr>
            <a:lvl4pPr marL="0" algn="l" defTabSz="609585" rtl="0" eaLnBrk="1" latinLnBrk="0" hangingPunct="1">
              <a:defRPr lang="da-DK" sz="1733" kern="1200" dirty="0" smtClean="0">
                <a:solidFill>
                  <a:schemeClr val="bg1"/>
                </a:solidFill>
                <a:latin typeface="+mj-lt"/>
                <a:ea typeface="+mn-ea"/>
                <a:cs typeface="+mn-cs"/>
              </a:defRPr>
            </a:lvl4pPr>
            <a:lvl5pPr marL="0" algn="l" defTabSz="609585" rtl="0" eaLnBrk="1" latinLnBrk="0" hangingPunct="1">
              <a:defRPr lang="da-DK" sz="1733" kern="1200" dirty="0">
                <a:solidFill>
                  <a:schemeClr val="bg1"/>
                </a:solidFill>
                <a:latin typeface="+mj-lt"/>
                <a:ea typeface="+mn-ea"/>
                <a:cs typeface="+mn-cs"/>
              </a:defRPr>
            </a:lvl5pPr>
          </a:lstStyle>
          <a:p>
            <a:pPr lvl="0"/>
            <a:r>
              <a:rPr lang="en-US"/>
              <a:t>XX min.</a:t>
            </a:r>
          </a:p>
        </p:txBody>
      </p:sp>
      <p:sp>
        <p:nvSpPr>
          <p:cNvPr id="2" name="Pladsholder til dato 1">
            <a:extLst>
              <a:ext uri="{FF2B5EF4-FFF2-40B4-BE49-F238E27FC236}">
                <a16:creationId xmlns:a16="http://schemas.microsoft.com/office/drawing/2014/main" id="{81150B54-8B30-4CF3-81B4-55565587177F}"/>
              </a:ext>
            </a:extLst>
          </p:cNvPr>
          <p:cNvSpPr>
            <a:spLocks noGrp="1"/>
          </p:cNvSpPr>
          <p:nvPr>
            <p:ph type="dt" sz="half" idx="38"/>
          </p:nvPr>
        </p:nvSpPr>
        <p:spPr/>
        <p:txBody>
          <a:bodyPr/>
          <a:lstStyle/>
          <a:p>
            <a:pPr algn="r"/>
            <a:fld id="{3773308A-2C49-49AA-B7E5-A2C551993136}" type="datetimeFigureOut">
              <a:rPr lang="en-US" smtClean="0"/>
              <a:pPr algn="r"/>
              <a:t>4/18/2024</a:t>
            </a:fld>
            <a:endParaRPr lang="en-US"/>
          </a:p>
        </p:txBody>
      </p:sp>
      <p:sp>
        <p:nvSpPr>
          <p:cNvPr id="32" name="Pladsholder til sidefod 31">
            <a:extLst>
              <a:ext uri="{FF2B5EF4-FFF2-40B4-BE49-F238E27FC236}">
                <a16:creationId xmlns:a16="http://schemas.microsoft.com/office/drawing/2014/main" id="{C34E2F94-D7F9-449A-8329-063D2B0D7984}"/>
              </a:ext>
            </a:extLst>
          </p:cNvPr>
          <p:cNvSpPr>
            <a:spLocks noGrp="1"/>
          </p:cNvSpPr>
          <p:nvPr>
            <p:ph type="ftr" sz="quarter" idx="39"/>
          </p:nvPr>
        </p:nvSpPr>
        <p:spPr/>
        <p:txBody>
          <a:bodyPr/>
          <a:lstStyle/>
          <a:p>
            <a:endParaRPr lang="en-US"/>
          </a:p>
        </p:txBody>
      </p:sp>
      <p:sp>
        <p:nvSpPr>
          <p:cNvPr id="33" name="Pladsholder til slidenummer 32">
            <a:extLst>
              <a:ext uri="{FF2B5EF4-FFF2-40B4-BE49-F238E27FC236}">
                <a16:creationId xmlns:a16="http://schemas.microsoft.com/office/drawing/2014/main" id="{C4F7D5E8-5C35-49FD-A9FA-C989D9E288B8}"/>
              </a:ext>
            </a:extLst>
          </p:cNvPr>
          <p:cNvSpPr>
            <a:spLocks noGrp="1"/>
          </p:cNvSpPr>
          <p:nvPr>
            <p:ph type="sldNum" sz="quarter" idx="40"/>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9314478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10" name="Graphic 11">
            <a:extLst>
              <a:ext uri="{FF2B5EF4-FFF2-40B4-BE49-F238E27FC236}">
                <a16:creationId xmlns:a16="http://schemas.microsoft.com/office/drawing/2014/main" id="{94695BA4-F4E2-44E1-9EF6-CAFFED6C7B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12" y="3744975"/>
            <a:ext cx="11760000" cy="37020"/>
          </a:xfrm>
          <a:prstGeom prst="rect">
            <a:avLst/>
          </a:prstGeom>
        </p:spPr>
      </p:pic>
      <p:sp>
        <p:nvSpPr>
          <p:cNvPr id="3" name="Pladsholder til billede 2">
            <a:extLst>
              <a:ext uri="{FF2B5EF4-FFF2-40B4-BE49-F238E27FC236}">
                <a16:creationId xmlns:a16="http://schemas.microsoft.com/office/drawing/2014/main" id="{E5B92AAA-15C0-49C5-B4EA-90F86F4A22F2}"/>
              </a:ext>
            </a:extLst>
          </p:cNvPr>
          <p:cNvSpPr>
            <a:spLocks noGrp="1"/>
          </p:cNvSpPr>
          <p:nvPr>
            <p:ph type="pic" sz="quarter" idx="13" hasCustomPrompt="1"/>
          </p:nvPr>
        </p:nvSpPr>
        <p:spPr>
          <a:xfrm>
            <a:off x="6096002" y="0"/>
            <a:ext cx="6095999" cy="6858000"/>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4" name="Titel 13">
            <a:extLst>
              <a:ext uri="{FF2B5EF4-FFF2-40B4-BE49-F238E27FC236}">
                <a16:creationId xmlns:a16="http://schemas.microsoft.com/office/drawing/2014/main" id="{04416AAE-F179-44B6-9831-1211A2314EFD}"/>
              </a:ext>
            </a:extLst>
          </p:cNvPr>
          <p:cNvSpPr>
            <a:spLocks noGrp="1"/>
          </p:cNvSpPr>
          <p:nvPr>
            <p:ph type="title" hasCustomPrompt="1"/>
          </p:nvPr>
        </p:nvSpPr>
        <p:spPr>
          <a:xfrm>
            <a:off x="318545" y="3155415"/>
            <a:ext cx="5259931" cy="562975"/>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8" name="Pladsholder til tekst 7">
            <a:extLst>
              <a:ext uri="{FF2B5EF4-FFF2-40B4-BE49-F238E27FC236}">
                <a16:creationId xmlns:a16="http://schemas.microsoft.com/office/drawing/2014/main" id="{209C1F70-7332-4609-BA73-9430AC8C1913}"/>
              </a:ext>
            </a:extLst>
          </p:cNvPr>
          <p:cNvSpPr>
            <a:spLocks noGrp="1"/>
          </p:cNvSpPr>
          <p:nvPr>
            <p:ph type="body" sz="quarter" idx="27"/>
          </p:nvPr>
        </p:nvSpPr>
        <p:spPr>
          <a:xfrm>
            <a:off x="318545" y="3888001"/>
            <a:ext cx="5259931" cy="944033"/>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7" name="LOGO">
            <a:extLst>
              <a:ext uri="{FF2B5EF4-FFF2-40B4-BE49-F238E27FC236}">
                <a16:creationId xmlns:a16="http://schemas.microsoft.com/office/drawing/2014/main" id="{CCD01C6B-B607-47F6-BDA5-BC315A691CC2}"/>
              </a:ext>
            </a:extLst>
          </p:cNvPr>
          <p:cNvSpPr>
            <a:spLocks noGrp="1"/>
          </p:cNvSpPr>
          <p:nvPr>
            <p:ph type="pic" sz="quarter" idx="28" hasCustomPrompt="1"/>
          </p:nvPr>
        </p:nvSpPr>
        <p:spPr>
          <a:xfrm>
            <a:off x="10179285" y="347284"/>
            <a:ext cx="1776000" cy="408000"/>
          </a:xfrm>
          <a:prstGeom prst="rect">
            <a:avLst/>
          </a:prstGeom>
          <a:blipFill>
            <a:blip r:embed="rId4"/>
            <a:stretch>
              <a:fillRect/>
            </a:stretch>
          </a:blipFill>
        </p:spPr>
        <p:txBody>
          <a:bodyPr/>
          <a:lstStyle>
            <a:lvl1pPr marL="0" indent="0">
              <a:buNone/>
              <a:defRPr/>
            </a:lvl1pPr>
          </a:lstStyle>
          <a:p>
            <a:r>
              <a:rPr lang="en-US"/>
              <a:t> </a:t>
            </a:r>
          </a:p>
        </p:txBody>
      </p:sp>
      <p:sp>
        <p:nvSpPr>
          <p:cNvPr id="2" name="Pladsholder til dato 1">
            <a:extLst>
              <a:ext uri="{FF2B5EF4-FFF2-40B4-BE49-F238E27FC236}">
                <a16:creationId xmlns:a16="http://schemas.microsoft.com/office/drawing/2014/main" id="{CB28C9DD-E739-4186-A4EC-6E79682DEEFD}"/>
              </a:ext>
            </a:extLst>
          </p:cNvPr>
          <p:cNvSpPr>
            <a:spLocks noGrp="1"/>
          </p:cNvSpPr>
          <p:nvPr>
            <p:ph type="dt" sz="half" idx="29"/>
          </p:nvPr>
        </p:nvSpPr>
        <p:spPr/>
        <p:txBody>
          <a:bodyPr/>
          <a:lstStyle>
            <a:lvl1pPr>
              <a:defRPr>
                <a:solidFill>
                  <a:schemeClr val="bg1"/>
                </a:solidFill>
              </a:defRPr>
            </a:lvl1pPr>
          </a:lstStyle>
          <a:p>
            <a:pPr algn="r"/>
            <a:fld id="{3773308A-2C49-49AA-B7E5-A2C551993136}" type="datetimeFigureOut">
              <a:rPr lang="en-US" smtClean="0"/>
              <a:pPr algn="r"/>
              <a:t>4/18/2024</a:t>
            </a:fld>
            <a:endParaRPr lang="en-US"/>
          </a:p>
        </p:txBody>
      </p:sp>
      <p:sp>
        <p:nvSpPr>
          <p:cNvPr id="9" name="Pladsholder til sidefod 8">
            <a:extLst>
              <a:ext uri="{FF2B5EF4-FFF2-40B4-BE49-F238E27FC236}">
                <a16:creationId xmlns:a16="http://schemas.microsoft.com/office/drawing/2014/main" id="{78C7E8D9-CCCC-4294-A751-D4AADFAAF682}"/>
              </a:ext>
            </a:extLst>
          </p:cNvPr>
          <p:cNvSpPr>
            <a:spLocks noGrp="1"/>
          </p:cNvSpPr>
          <p:nvPr>
            <p:ph type="ftr" sz="quarter" idx="30"/>
          </p:nvPr>
        </p:nvSpPr>
        <p:spPr/>
        <p:txBody>
          <a:bodyPr/>
          <a:lstStyle/>
          <a:p>
            <a:endParaRPr lang="en-US"/>
          </a:p>
        </p:txBody>
      </p:sp>
      <p:sp>
        <p:nvSpPr>
          <p:cNvPr id="11" name="Pladsholder til slidenummer 10">
            <a:extLst>
              <a:ext uri="{FF2B5EF4-FFF2-40B4-BE49-F238E27FC236}">
                <a16:creationId xmlns:a16="http://schemas.microsoft.com/office/drawing/2014/main" id="{0C7AC2C0-91D7-42A6-A0F0-7561BD72337E}"/>
              </a:ext>
            </a:extLst>
          </p:cNvPr>
          <p:cNvSpPr>
            <a:spLocks noGrp="1"/>
          </p:cNvSpPr>
          <p:nvPr>
            <p:ph type="sldNum" sz="quarter" idx="31"/>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109355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1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61D11B7-4245-BE47-8DAA-CBB911A899CC}"/>
              </a:ext>
            </a:extLst>
          </p:cNvPr>
          <p:cNvSpPr>
            <a:spLocks noGrp="1"/>
          </p:cNvSpPr>
          <p:nvPr>
            <p:ph type="body" sz="quarter" idx="13" hasCustomPrompt="1"/>
          </p:nvPr>
        </p:nvSpPr>
        <p:spPr>
          <a:xfrm>
            <a:off x="1" y="3025997"/>
            <a:ext cx="12191999" cy="806007"/>
          </a:xfrm>
        </p:spPr>
        <p:txBody>
          <a:bodyPr>
            <a:normAutofit/>
          </a:bodyPr>
          <a:lstStyle>
            <a:lvl1pPr algn="ctr">
              <a:defRPr sz="5333">
                <a:solidFill>
                  <a:srgbClr val="009BA6"/>
                </a:solidFill>
              </a:defRPr>
            </a:lvl1pPr>
          </a:lstStyle>
          <a:p>
            <a:pPr lvl="0"/>
            <a:r>
              <a:rPr lang="en-US"/>
              <a:t>A great headline can be added here</a:t>
            </a:r>
            <a:endParaRPr lang="en-DK"/>
          </a:p>
        </p:txBody>
      </p:sp>
      <p:sp>
        <p:nvSpPr>
          <p:cNvPr id="6" name="Pladsholder til dato 5">
            <a:extLst>
              <a:ext uri="{FF2B5EF4-FFF2-40B4-BE49-F238E27FC236}">
                <a16:creationId xmlns:a16="http://schemas.microsoft.com/office/drawing/2014/main" id="{A179E576-A32C-42EC-B32E-F003545F25EB}"/>
              </a:ext>
            </a:extLst>
          </p:cNvPr>
          <p:cNvSpPr>
            <a:spLocks noGrp="1"/>
          </p:cNvSpPr>
          <p:nvPr>
            <p:ph type="dt" sz="half" idx="14"/>
          </p:nvPr>
        </p:nvSpPr>
        <p:spPr/>
        <p:txBody>
          <a:bodyPr/>
          <a:lstStyle/>
          <a:p>
            <a:pPr algn="r"/>
            <a:fld id="{3773308A-2C49-49AA-B7E5-A2C551993136}" type="datetimeFigureOut">
              <a:rPr lang="en-US" smtClean="0"/>
              <a:pPr algn="r"/>
              <a:t>4/18/2024</a:t>
            </a:fld>
            <a:endParaRPr lang="en-US"/>
          </a:p>
        </p:txBody>
      </p:sp>
      <p:sp>
        <p:nvSpPr>
          <p:cNvPr id="8" name="Pladsholder til sidefod 7">
            <a:extLst>
              <a:ext uri="{FF2B5EF4-FFF2-40B4-BE49-F238E27FC236}">
                <a16:creationId xmlns:a16="http://schemas.microsoft.com/office/drawing/2014/main" id="{9666EB08-6077-4815-906F-DEABE3FBB8AB}"/>
              </a:ext>
            </a:extLst>
          </p:cNvPr>
          <p:cNvSpPr>
            <a:spLocks noGrp="1"/>
          </p:cNvSpPr>
          <p:nvPr>
            <p:ph type="ftr" sz="quarter" idx="15"/>
          </p:nvPr>
        </p:nvSpPr>
        <p:spPr/>
        <p:txBody>
          <a:bodyPr/>
          <a:lstStyle/>
          <a:p>
            <a:endParaRPr lang="en-US"/>
          </a:p>
        </p:txBody>
      </p:sp>
      <p:sp>
        <p:nvSpPr>
          <p:cNvPr id="12" name="Pladsholder til slidenummer 11">
            <a:extLst>
              <a:ext uri="{FF2B5EF4-FFF2-40B4-BE49-F238E27FC236}">
                <a16:creationId xmlns:a16="http://schemas.microsoft.com/office/drawing/2014/main" id="{BC3DC546-8A34-414C-9C96-6CCFCDD1D1CA}"/>
              </a:ext>
            </a:extLst>
          </p:cNvPr>
          <p:cNvSpPr>
            <a:spLocks noGrp="1"/>
          </p:cNvSpPr>
          <p:nvPr>
            <p:ph type="sldNum" sz="quarter" idx="16"/>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89357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11539020"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3" name="Pladsholder til tekst 2">
            <a:extLst>
              <a:ext uri="{FF2B5EF4-FFF2-40B4-BE49-F238E27FC236}">
                <a16:creationId xmlns:a16="http://schemas.microsoft.com/office/drawing/2014/main" id="{0149E3B8-80F5-4815-A0F3-C7D9EBE6261F}"/>
              </a:ext>
            </a:extLst>
          </p:cNvPr>
          <p:cNvSpPr>
            <a:spLocks noGrp="1"/>
          </p:cNvSpPr>
          <p:nvPr>
            <p:ph type="body" sz="quarter" idx="19"/>
          </p:nvPr>
        </p:nvSpPr>
        <p:spPr>
          <a:xfrm>
            <a:off x="318546" y="1344001"/>
            <a:ext cx="11539021" cy="4489844"/>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Pladsholder til dato 5">
            <a:extLst>
              <a:ext uri="{FF2B5EF4-FFF2-40B4-BE49-F238E27FC236}">
                <a16:creationId xmlns:a16="http://schemas.microsoft.com/office/drawing/2014/main" id="{9E49C5DE-5ACE-48C7-9D6C-ADD429F1229A}"/>
              </a:ext>
            </a:extLst>
          </p:cNvPr>
          <p:cNvSpPr>
            <a:spLocks noGrp="1"/>
          </p:cNvSpPr>
          <p:nvPr>
            <p:ph type="dt" sz="half" idx="20"/>
          </p:nvPr>
        </p:nvSpPr>
        <p:spPr/>
        <p:txBody>
          <a:bodyPr/>
          <a:lstStyle/>
          <a:p>
            <a:pPr algn="r"/>
            <a:fld id="{3773308A-2C49-49AA-B7E5-A2C551993136}" type="datetimeFigureOut">
              <a:rPr lang="en-US" smtClean="0"/>
              <a:pPr algn="r"/>
              <a:t>4/18/2024</a:t>
            </a:fld>
            <a:endParaRPr lang="en-US"/>
          </a:p>
        </p:txBody>
      </p:sp>
      <p:sp>
        <p:nvSpPr>
          <p:cNvPr id="9" name="Pladsholder til sidefod 8">
            <a:extLst>
              <a:ext uri="{FF2B5EF4-FFF2-40B4-BE49-F238E27FC236}">
                <a16:creationId xmlns:a16="http://schemas.microsoft.com/office/drawing/2014/main" id="{598B244B-020B-4596-AE32-A93E2D0F8253}"/>
              </a:ext>
            </a:extLst>
          </p:cNvPr>
          <p:cNvSpPr>
            <a:spLocks noGrp="1"/>
          </p:cNvSpPr>
          <p:nvPr>
            <p:ph type="ftr" sz="quarter" idx="21"/>
          </p:nvPr>
        </p:nvSpPr>
        <p:spPr/>
        <p:txBody>
          <a:bodyPr/>
          <a:lstStyle/>
          <a:p>
            <a:endParaRPr lang="en-US"/>
          </a:p>
        </p:txBody>
      </p:sp>
      <p:sp>
        <p:nvSpPr>
          <p:cNvPr id="11" name="Pladsholder til slidenummer 10">
            <a:extLst>
              <a:ext uri="{FF2B5EF4-FFF2-40B4-BE49-F238E27FC236}">
                <a16:creationId xmlns:a16="http://schemas.microsoft.com/office/drawing/2014/main" id="{C998380F-D6BF-42B5-8C24-51EEDB4515E4}"/>
              </a:ext>
            </a:extLst>
          </p:cNvPr>
          <p:cNvSpPr>
            <a:spLocks noGrp="1"/>
          </p:cNvSpPr>
          <p:nvPr>
            <p:ph type="sldNum" sz="quarter" idx="22"/>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15996277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168E1-C449-4665-A343-795B2C545D7F}"/>
              </a:ext>
            </a:extLst>
          </p:cNvPr>
          <p:cNvSpPr>
            <a:spLocks noGrp="1"/>
          </p:cNvSpPr>
          <p:nvPr>
            <p:ph type="title" hasCustomPrompt="1"/>
          </p:nvPr>
        </p:nvSpPr>
        <p:spPr>
          <a:xfrm>
            <a:off x="318546" y="720000"/>
            <a:ext cx="11539021"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da-DK" err="1"/>
              <a:t>Headline</a:t>
            </a:r>
            <a:endParaRPr lang="da-DK"/>
          </a:p>
        </p:txBody>
      </p:sp>
      <p:sp>
        <p:nvSpPr>
          <p:cNvPr id="8" name="Pladsholder til tekst 27">
            <a:extLst>
              <a:ext uri="{FF2B5EF4-FFF2-40B4-BE49-F238E27FC236}">
                <a16:creationId xmlns:a16="http://schemas.microsoft.com/office/drawing/2014/main" id="{B19685C8-5C60-46EE-BADE-0CB5128CFC17}"/>
              </a:ext>
            </a:extLst>
          </p:cNvPr>
          <p:cNvSpPr>
            <a:spLocks noGrp="1"/>
          </p:cNvSpPr>
          <p:nvPr>
            <p:ph type="body" sz="quarter" idx="14" hasCustomPrompt="1"/>
          </p:nvPr>
        </p:nvSpPr>
        <p:spPr>
          <a:xfrm>
            <a:off x="316801" y="1344000"/>
            <a:ext cx="11494737" cy="490235"/>
          </a:xfrm>
          <a:prstGeom prst="rect">
            <a:avLst/>
          </a:prstGeom>
        </p:spPr>
        <p:txBody>
          <a:bodyPr>
            <a:noAutofit/>
          </a:bodyPr>
          <a:lstStyle>
            <a:lvl1pPr marL="239178" indent="-239178" algn="l" defTabSz="609585" rtl="0" eaLnBrk="1" latinLnBrk="0" hangingPunct="1">
              <a:buFont typeface="+mj-lt"/>
              <a:buNone/>
              <a:defRPr lang="da-DK" sz="1733" b="0" kern="1200" dirty="0" smtClean="0">
                <a:solidFill>
                  <a:schemeClr val="tx1"/>
                </a:solidFill>
                <a:latin typeface="+mj-lt"/>
                <a:ea typeface="+mn-ea"/>
                <a:cs typeface="+mn-cs"/>
              </a:defRPr>
            </a:lvl1pPr>
          </a:lstStyle>
          <a:p>
            <a:pPr lvl="0"/>
            <a:r>
              <a:rPr lang="en-US"/>
              <a:t>Text can be added here</a:t>
            </a:r>
          </a:p>
        </p:txBody>
      </p:sp>
      <p:sp>
        <p:nvSpPr>
          <p:cNvPr id="9" name="Pladsholder til tekst 2">
            <a:extLst>
              <a:ext uri="{FF2B5EF4-FFF2-40B4-BE49-F238E27FC236}">
                <a16:creationId xmlns:a16="http://schemas.microsoft.com/office/drawing/2014/main" id="{44774B15-AD94-438A-9D80-51870A47989A}"/>
              </a:ext>
            </a:extLst>
          </p:cNvPr>
          <p:cNvSpPr>
            <a:spLocks noGrp="1"/>
          </p:cNvSpPr>
          <p:nvPr>
            <p:ph type="body" sz="quarter" idx="19"/>
          </p:nvPr>
        </p:nvSpPr>
        <p:spPr>
          <a:xfrm>
            <a:off x="316800" y="1920000"/>
            <a:ext cx="11494736" cy="3670968"/>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3" name="Pladsholder til dato 2">
            <a:extLst>
              <a:ext uri="{FF2B5EF4-FFF2-40B4-BE49-F238E27FC236}">
                <a16:creationId xmlns:a16="http://schemas.microsoft.com/office/drawing/2014/main" id="{C8347768-67F1-487F-96AB-5634D7D78AB3}"/>
              </a:ext>
            </a:extLst>
          </p:cNvPr>
          <p:cNvSpPr>
            <a:spLocks noGrp="1"/>
          </p:cNvSpPr>
          <p:nvPr>
            <p:ph type="dt" sz="half" idx="20"/>
          </p:nvPr>
        </p:nvSpPr>
        <p:spPr/>
        <p:txBody>
          <a:body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63B8B919-091F-4DB8-9DEE-C5546B5D0ABF}"/>
              </a:ext>
            </a:extLst>
          </p:cNvPr>
          <p:cNvSpPr>
            <a:spLocks noGrp="1"/>
          </p:cNvSpPr>
          <p:nvPr>
            <p:ph type="ftr" sz="quarter" idx="21"/>
          </p:nvPr>
        </p:nvSpPr>
        <p:spPr/>
        <p:txBody>
          <a:bodyPr/>
          <a:lstStyle/>
          <a:p>
            <a:endParaRPr lang="en-US"/>
          </a:p>
        </p:txBody>
      </p:sp>
      <p:sp>
        <p:nvSpPr>
          <p:cNvPr id="10" name="Pladsholder til slidenummer 9">
            <a:extLst>
              <a:ext uri="{FF2B5EF4-FFF2-40B4-BE49-F238E27FC236}">
                <a16:creationId xmlns:a16="http://schemas.microsoft.com/office/drawing/2014/main" id="{BB4DBE4C-7B14-49D2-8512-1BA8CC078C2D}"/>
              </a:ext>
            </a:extLst>
          </p:cNvPr>
          <p:cNvSpPr>
            <a:spLocks noGrp="1"/>
          </p:cNvSpPr>
          <p:nvPr>
            <p:ph type="sldNum" sz="quarter" idx="22"/>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24342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image left full">
    <p:spTree>
      <p:nvGrpSpPr>
        <p:cNvPr id="1" name=""/>
        <p:cNvGrpSpPr/>
        <p:nvPr/>
      </p:nvGrpSpPr>
      <p:grpSpPr>
        <a:xfrm>
          <a:off x="0" y="0"/>
          <a:ext cx="0" cy="0"/>
          <a:chOff x="0" y="0"/>
          <a:chExt cx="0" cy="0"/>
        </a:xfrm>
      </p:grpSpPr>
      <p:sp>
        <p:nvSpPr>
          <p:cNvPr id="14" name="Pladsholder til billede 2">
            <a:extLst>
              <a:ext uri="{FF2B5EF4-FFF2-40B4-BE49-F238E27FC236}">
                <a16:creationId xmlns:a16="http://schemas.microsoft.com/office/drawing/2014/main" id="{709DDEAD-026E-4427-844B-D306632C6EAC}"/>
              </a:ext>
            </a:extLst>
          </p:cNvPr>
          <p:cNvSpPr>
            <a:spLocks noGrp="1"/>
          </p:cNvSpPr>
          <p:nvPr>
            <p:ph type="pic" sz="quarter" idx="13" hasCustomPrompt="1"/>
          </p:nvPr>
        </p:nvSpPr>
        <p:spPr>
          <a:xfrm>
            <a:off x="6176381" y="0"/>
            <a:ext cx="6015619" cy="6858000"/>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6800" y="720000"/>
            <a:ext cx="5259931"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9" name="Pladsholder til tekst 2">
            <a:extLst>
              <a:ext uri="{FF2B5EF4-FFF2-40B4-BE49-F238E27FC236}">
                <a16:creationId xmlns:a16="http://schemas.microsoft.com/office/drawing/2014/main" id="{1AC9011A-EA49-4EF4-891F-54F47747D123}"/>
              </a:ext>
            </a:extLst>
          </p:cNvPr>
          <p:cNvSpPr>
            <a:spLocks noGrp="1"/>
          </p:cNvSpPr>
          <p:nvPr>
            <p:ph type="body" sz="quarter" idx="19"/>
          </p:nvPr>
        </p:nvSpPr>
        <p:spPr>
          <a:xfrm>
            <a:off x="316800" y="1344001"/>
            <a:ext cx="5213901" cy="4412716"/>
          </a:xfrm>
          <a:prstGeom prst="rect">
            <a:avLst/>
          </a:prstGeom>
        </p:spPr>
        <p:txBody>
          <a:bodyPr lIns="90000">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LOGO">
            <a:extLst>
              <a:ext uri="{FF2B5EF4-FFF2-40B4-BE49-F238E27FC236}">
                <a16:creationId xmlns:a16="http://schemas.microsoft.com/office/drawing/2014/main" id="{46AA901C-C086-4BC8-BF2C-5A09D7AF8115}"/>
              </a:ext>
            </a:extLst>
          </p:cNvPr>
          <p:cNvSpPr>
            <a:spLocks noGrp="1"/>
          </p:cNvSpPr>
          <p:nvPr>
            <p:ph type="pic" sz="quarter" idx="28" hasCustomPrompt="1"/>
          </p:nvPr>
        </p:nvSpPr>
        <p:spPr>
          <a:xfrm>
            <a:off x="10179285" y="347284"/>
            <a:ext cx="1776000" cy="408000"/>
          </a:xfrm>
          <a:prstGeom prst="rect">
            <a:avLst/>
          </a:prstGeom>
          <a:blipFill>
            <a:blip r:embed="rId2"/>
            <a:stretch>
              <a:fillRect/>
            </a:stretch>
          </a:blipFill>
        </p:spPr>
        <p:txBody>
          <a:bodyPr/>
          <a:lstStyle>
            <a:lvl1pPr marL="0" indent="0">
              <a:buNone/>
              <a:defRPr/>
            </a:lvl1pPr>
          </a:lstStyle>
          <a:p>
            <a:r>
              <a:rPr lang="en-US"/>
              <a:t> </a:t>
            </a:r>
          </a:p>
        </p:txBody>
      </p:sp>
      <p:sp>
        <p:nvSpPr>
          <p:cNvPr id="2" name="Pladsholder til dato 1">
            <a:extLst>
              <a:ext uri="{FF2B5EF4-FFF2-40B4-BE49-F238E27FC236}">
                <a16:creationId xmlns:a16="http://schemas.microsoft.com/office/drawing/2014/main" id="{C4CE8386-63A6-4DFC-A51F-2656AB801DAC}"/>
              </a:ext>
            </a:extLst>
          </p:cNvPr>
          <p:cNvSpPr>
            <a:spLocks noGrp="1"/>
          </p:cNvSpPr>
          <p:nvPr>
            <p:ph type="dt" sz="half" idx="29"/>
          </p:nvPr>
        </p:nvSpPr>
        <p:spPr/>
        <p:txBody>
          <a:bodyPr/>
          <a:lstStyle>
            <a:lvl1pPr>
              <a:defRPr>
                <a:solidFill>
                  <a:schemeClr val="bg1"/>
                </a:solidFill>
              </a:defRPr>
            </a:lvl1p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83216C05-6699-45A5-8F36-94F1367F0501}"/>
              </a:ext>
            </a:extLst>
          </p:cNvPr>
          <p:cNvSpPr>
            <a:spLocks noGrp="1"/>
          </p:cNvSpPr>
          <p:nvPr>
            <p:ph type="ftr" sz="quarter" idx="30"/>
          </p:nvPr>
        </p:nvSpPr>
        <p:spPr/>
        <p:txBody>
          <a:bodyPr/>
          <a:lstStyle/>
          <a:p>
            <a:endParaRPr lang="en-US"/>
          </a:p>
        </p:txBody>
      </p:sp>
      <p:sp>
        <p:nvSpPr>
          <p:cNvPr id="7" name="Pladsholder til slidenummer 6">
            <a:extLst>
              <a:ext uri="{FF2B5EF4-FFF2-40B4-BE49-F238E27FC236}">
                <a16:creationId xmlns:a16="http://schemas.microsoft.com/office/drawing/2014/main" id="{4709BEE5-EB0A-4D13-8129-1A7F65E6DFF4}"/>
              </a:ext>
            </a:extLst>
          </p:cNvPr>
          <p:cNvSpPr>
            <a:spLocks noGrp="1"/>
          </p:cNvSpPr>
          <p:nvPr>
            <p:ph type="sldNum" sz="quarter" idx="31"/>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388458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image right full">
    <p:spTree>
      <p:nvGrpSpPr>
        <p:cNvPr id="1" name=""/>
        <p:cNvGrpSpPr/>
        <p:nvPr/>
      </p:nvGrpSpPr>
      <p:grpSpPr>
        <a:xfrm>
          <a:off x="0" y="0"/>
          <a:ext cx="0" cy="0"/>
          <a:chOff x="0" y="0"/>
          <a:chExt cx="0" cy="0"/>
        </a:xfrm>
      </p:grpSpPr>
      <p:sp>
        <p:nvSpPr>
          <p:cNvPr id="14" name="Pladsholder til billede 2">
            <a:extLst>
              <a:ext uri="{FF2B5EF4-FFF2-40B4-BE49-F238E27FC236}">
                <a16:creationId xmlns:a16="http://schemas.microsoft.com/office/drawing/2014/main" id="{709DDEAD-026E-4427-844B-D306632C6EAC}"/>
              </a:ext>
            </a:extLst>
          </p:cNvPr>
          <p:cNvSpPr>
            <a:spLocks noGrp="1"/>
          </p:cNvSpPr>
          <p:nvPr>
            <p:ph type="pic" sz="quarter" idx="13" hasCustomPrompt="1"/>
          </p:nvPr>
        </p:nvSpPr>
        <p:spPr>
          <a:xfrm>
            <a:off x="1" y="0"/>
            <a:ext cx="6095999" cy="6858000"/>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6546060" y="720000"/>
            <a:ext cx="5311507"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8" name="Pladsholder til tekst 2">
            <a:extLst>
              <a:ext uri="{FF2B5EF4-FFF2-40B4-BE49-F238E27FC236}">
                <a16:creationId xmlns:a16="http://schemas.microsoft.com/office/drawing/2014/main" id="{7AD285B8-DCD3-4C11-8730-F670D4F9972B}"/>
              </a:ext>
            </a:extLst>
          </p:cNvPr>
          <p:cNvSpPr>
            <a:spLocks noGrp="1"/>
          </p:cNvSpPr>
          <p:nvPr>
            <p:ph type="body" sz="quarter" idx="19"/>
          </p:nvPr>
        </p:nvSpPr>
        <p:spPr>
          <a:xfrm>
            <a:off x="6546060" y="1344001"/>
            <a:ext cx="5311507" cy="4412716"/>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FEFC97A0-FF74-4D62-ABE0-9BB86C1BB206}"/>
              </a:ext>
            </a:extLst>
          </p:cNvPr>
          <p:cNvSpPr>
            <a:spLocks noGrp="1"/>
          </p:cNvSpPr>
          <p:nvPr>
            <p:ph type="dt" sz="half" idx="20"/>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D106273C-FF85-4DD0-8687-948D360E0816}"/>
              </a:ext>
            </a:extLst>
          </p:cNvPr>
          <p:cNvSpPr>
            <a:spLocks noGrp="1"/>
          </p:cNvSpPr>
          <p:nvPr>
            <p:ph type="ftr" sz="quarter" idx="21"/>
          </p:nvPr>
        </p:nvSpPr>
        <p:spPr/>
        <p:txBody>
          <a:bodyPr/>
          <a:lstStyle>
            <a:lvl1pPr>
              <a:defRPr>
                <a:solidFill>
                  <a:schemeClr val="bg1"/>
                </a:solidFill>
              </a:defRPr>
            </a:lvl1pPr>
          </a:lstStyle>
          <a:p>
            <a:endParaRPr lang="en-US"/>
          </a:p>
        </p:txBody>
      </p:sp>
      <p:sp>
        <p:nvSpPr>
          <p:cNvPr id="7" name="Pladsholder til slidenummer 6">
            <a:extLst>
              <a:ext uri="{FF2B5EF4-FFF2-40B4-BE49-F238E27FC236}">
                <a16:creationId xmlns:a16="http://schemas.microsoft.com/office/drawing/2014/main" id="{7148C781-6F93-4BFB-938E-FB5825C8BEF6}"/>
              </a:ext>
            </a:extLst>
          </p:cNvPr>
          <p:cNvSpPr>
            <a:spLocks noGrp="1"/>
          </p:cNvSpPr>
          <p:nvPr>
            <p:ph type="sldNum" sz="quarter" idx="22"/>
          </p:nvPr>
        </p:nvSpPr>
        <p:spPr/>
        <p:txBody>
          <a:bodyPr/>
          <a:lstStyle>
            <a:lvl1pPr>
              <a:defRPr>
                <a:solidFill>
                  <a:schemeClr val="bg1"/>
                </a:solidFill>
              </a:defRPr>
            </a:lvl1pPr>
          </a:lstStyle>
          <a:p>
            <a:fld id="{24E63CB2-98B0-49EC-843D-EA0792C8B4C9}" type="slidenum">
              <a:rPr lang="en-US" smtClean="0"/>
              <a:pPr/>
              <a:t>‹#›</a:t>
            </a:fld>
            <a:endParaRPr lang="en-US"/>
          </a:p>
        </p:txBody>
      </p:sp>
    </p:spTree>
    <p:extLst>
      <p:ext uri="{BB962C8B-B14F-4D97-AF65-F5344CB8AC3E}">
        <p14:creationId xmlns:p14="http://schemas.microsoft.com/office/powerpoint/2010/main" val="27209899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image left">
    <p:spTree>
      <p:nvGrpSpPr>
        <p:cNvPr id="1" name=""/>
        <p:cNvGrpSpPr/>
        <p:nvPr/>
      </p:nvGrpSpPr>
      <p:grpSpPr>
        <a:xfrm>
          <a:off x="0" y="0"/>
          <a:ext cx="0" cy="0"/>
          <a:chOff x="0" y="0"/>
          <a:chExt cx="0" cy="0"/>
        </a:xfrm>
      </p:grpSpPr>
      <p:sp>
        <p:nvSpPr>
          <p:cNvPr id="14" name="Pladsholder til billede 2">
            <a:extLst>
              <a:ext uri="{FF2B5EF4-FFF2-40B4-BE49-F238E27FC236}">
                <a16:creationId xmlns:a16="http://schemas.microsoft.com/office/drawing/2014/main" id="{709DDEAD-026E-4427-844B-D306632C6EAC}"/>
              </a:ext>
            </a:extLst>
          </p:cNvPr>
          <p:cNvSpPr>
            <a:spLocks noGrp="1"/>
          </p:cNvSpPr>
          <p:nvPr>
            <p:ph type="pic" sz="quarter" idx="13" hasCustomPrompt="1"/>
          </p:nvPr>
        </p:nvSpPr>
        <p:spPr>
          <a:xfrm>
            <a:off x="421342" y="720000"/>
            <a:ext cx="5538567" cy="5266168"/>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6546060" y="720000"/>
            <a:ext cx="5311507"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8" name="Pladsholder til tekst 2">
            <a:extLst>
              <a:ext uri="{FF2B5EF4-FFF2-40B4-BE49-F238E27FC236}">
                <a16:creationId xmlns:a16="http://schemas.microsoft.com/office/drawing/2014/main" id="{BA96C4D4-4F55-4182-BB94-4A5440C95F1D}"/>
              </a:ext>
            </a:extLst>
          </p:cNvPr>
          <p:cNvSpPr>
            <a:spLocks noGrp="1"/>
          </p:cNvSpPr>
          <p:nvPr>
            <p:ph type="body" sz="quarter" idx="19"/>
          </p:nvPr>
        </p:nvSpPr>
        <p:spPr>
          <a:xfrm>
            <a:off x="6546060" y="1344000"/>
            <a:ext cx="5311507" cy="4433485"/>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B9DF3AEC-B398-4153-974C-30AA84011A56}"/>
              </a:ext>
            </a:extLst>
          </p:cNvPr>
          <p:cNvSpPr>
            <a:spLocks noGrp="1"/>
          </p:cNvSpPr>
          <p:nvPr>
            <p:ph type="dt" sz="half" idx="20"/>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831ECA2B-B20A-4C94-8C39-3F3705AE4FE9}"/>
              </a:ext>
            </a:extLst>
          </p:cNvPr>
          <p:cNvSpPr>
            <a:spLocks noGrp="1"/>
          </p:cNvSpPr>
          <p:nvPr>
            <p:ph type="ftr" sz="quarter" idx="21"/>
          </p:nvPr>
        </p:nvSpPr>
        <p:spPr/>
        <p:txBody>
          <a:bodyPr/>
          <a:lstStyle/>
          <a:p>
            <a:endParaRPr lang="en-US"/>
          </a:p>
        </p:txBody>
      </p:sp>
      <p:sp>
        <p:nvSpPr>
          <p:cNvPr id="7" name="Pladsholder til slidenummer 6">
            <a:extLst>
              <a:ext uri="{FF2B5EF4-FFF2-40B4-BE49-F238E27FC236}">
                <a16:creationId xmlns:a16="http://schemas.microsoft.com/office/drawing/2014/main" id="{57254AF5-89F4-48D3-9F93-637306EF3636}"/>
              </a:ext>
            </a:extLst>
          </p:cNvPr>
          <p:cNvSpPr>
            <a:spLocks noGrp="1"/>
          </p:cNvSpPr>
          <p:nvPr>
            <p:ph type="sldNum" sz="quarter" idx="22"/>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8912579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image right">
    <p:spTree>
      <p:nvGrpSpPr>
        <p:cNvPr id="1" name=""/>
        <p:cNvGrpSpPr/>
        <p:nvPr/>
      </p:nvGrpSpPr>
      <p:grpSpPr>
        <a:xfrm>
          <a:off x="0" y="0"/>
          <a:ext cx="0" cy="0"/>
          <a:chOff x="0" y="0"/>
          <a:chExt cx="0" cy="0"/>
        </a:xfrm>
      </p:grpSpPr>
      <p:sp>
        <p:nvSpPr>
          <p:cNvPr id="14" name="Pladsholder til billede 2">
            <a:extLst>
              <a:ext uri="{FF2B5EF4-FFF2-40B4-BE49-F238E27FC236}">
                <a16:creationId xmlns:a16="http://schemas.microsoft.com/office/drawing/2014/main" id="{709DDEAD-026E-4427-844B-D306632C6EAC}"/>
              </a:ext>
            </a:extLst>
          </p:cNvPr>
          <p:cNvSpPr>
            <a:spLocks noGrp="1"/>
          </p:cNvSpPr>
          <p:nvPr>
            <p:ph type="pic" sz="quarter" idx="13" hasCustomPrompt="1"/>
          </p:nvPr>
        </p:nvSpPr>
        <p:spPr>
          <a:xfrm>
            <a:off x="6267425" y="906584"/>
            <a:ext cx="5590143" cy="5079584"/>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7" y="720000"/>
            <a:ext cx="5259931"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8" name="Pladsholder til tekst 2">
            <a:extLst>
              <a:ext uri="{FF2B5EF4-FFF2-40B4-BE49-F238E27FC236}">
                <a16:creationId xmlns:a16="http://schemas.microsoft.com/office/drawing/2014/main" id="{5180E6FC-6D7A-4DBD-A7E5-04BDEB531E30}"/>
              </a:ext>
            </a:extLst>
          </p:cNvPr>
          <p:cNvSpPr>
            <a:spLocks noGrp="1"/>
          </p:cNvSpPr>
          <p:nvPr>
            <p:ph type="body" sz="quarter" idx="19"/>
          </p:nvPr>
        </p:nvSpPr>
        <p:spPr>
          <a:xfrm>
            <a:off x="318548" y="1344001"/>
            <a:ext cx="5259931" cy="4433484"/>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22F16ECC-0A5E-4874-808C-A4C55881999E}"/>
              </a:ext>
            </a:extLst>
          </p:cNvPr>
          <p:cNvSpPr>
            <a:spLocks noGrp="1"/>
          </p:cNvSpPr>
          <p:nvPr>
            <p:ph type="dt" sz="half" idx="20"/>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39155653-7F48-4102-B322-FA041C5F93E0}"/>
              </a:ext>
            </a:extLst>
          </p:cNvPr>
          <p:cNvSpPr>
            <a:spLocks noGrp="1"/>
          </p:cNvSpPr>
          <p:nvPr>
            <p:ph type="ftr" sz="quarter" idx="21"/>
          </p:nvPr>
        </p:nvSpPr>
        <p:spPr/>
        <p:txBody>
          <a:bodyPr/>
          <a:lstStyle/>
          <a:p>
            <a:endParaRPr lang="en-US"/>
          </a:p>
        </p:txBody>
      </p:sp>
      <p:sp>
        <p:nvSpPr>
          <p:cNvPr id="7" name="Pladsholder til slidenummer 6">
            <a:extLst>
              <a:ext uri="{FF2B5EF4-FFF2-40B4-BE49-F238E27FC236}">
                <a16:creationId xmlns:a16="http://schemas.microsoft.com/office/drawing/2014/main" id="{1F19CF60-CE38-47D5-8E43-B4054C71C1B3}"/>
              </a:ext>
            </a:extLst>
          </p:cNvPr>
          <p:cNvSpPr>
            <a:spLocks noGrp="1"/>
          </p:cNvSpPr>
          <p:nvPr>
            <p:ph type="sldNum" sz="quarter" idx="22"/>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657318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x text">
    <p:spTree>
      <p:nvGrpSpPr>
        <p:cNvPr id="1" name=""/>
        <p:cNvGrpSpPr/>
        <p:nvPr/>
      </p:nvGrpSpPr>
      <p:grpSpPr>
        <a:xfrm>
          <a:off x="0" y="0"/>
          <a:ext cx="0" cy="0"/>
          <a:chOff x="0" y="0"/>
          <a:chExt cx="0" cy="0"/>
        </a:xfrm>
      </p:grpSpPr>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7" y="720000"/>
            <a:ext cx="5259931"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21" name="Pladsholder til tekst 20">
            <a:extLst>
              <a:ext uri="{FF2B5EF4-FFF2-40B4-BE49-F238E27FC236}">
                <a16:creationId xmlns:a16="http://schemas.microsoft.com/office/drawing/2014/main" id="{00F85236-2A2C-42CC-90A8-81CFD73E72DF}"/>
              </a:ext>
            </a:extLst>
          </p:cNvPr>
          <p:cNvSpPr>
            <a:spLocks noGrp="1"/>
          </p:cNvSpPr>
          <p:nvPr>
            <p:ph type="body" sz="quarter" idx="19" hasCustomPrompt="1"/>
          </p:nvPr>
        </p:nvSpPr>
        <p:spPr>
          <a:xfrm>
            <a:off x="6327665" y="720000"/>
            <a:ext cx="5529903" cy="496419"/>
          </a:xfrm>
          <a:prstGeom prst="rect">
            <a:avLst/>
          </a:prstGeom>
        </p:spPr>
        <p:txBody>
          <a:bodyPr>
            <a:noAutofit/>
          </a:bodyPr>
          <a:lstStyle>
            <a:lvl1pPr marL="0" indent="0">
              <a:buNone/>
              <a:defRPr lang="da-DK" sz="3467" b="0" i="0" kern="1200" dirty="0">
                <a:solidFill>
                  <a:srgbClr val="009CA6"/>
                </a:solidFill>
                <a:latin typeface="+mj-lt"/>
                <a:ea typeface="+mn-ea"/>
                <a:cs typeface="+mn-cs"/>
              </a:defRPr>
            </a:lvl1pPr>
          </a:lstStyle>
          <a:p>
            <a:pPr marL="457189" lvl="0" indent="-457189" algn="l" defTabSz="609585" rtl="0" eaLnBrk="1" latinLnBrk="0" hangingPunct="1">
              <a:lnSpc>
                <a:spcPct val="85000"/>
              </a:lnSpc>
              <a:spcBef>
                <a:spcPct val="0"/>
              </a:spcBef>
            </a:pPr>
            <a:r>
              <a:rPr lang="en-US" noProof="0"/>
              <a:t>Headline</a:t>
            </a:r>
          </a:p>
        </p:txBody>
      </p:sp>
      <p:sp>
        <p:nvSpPr>
          <p:cNvPr id="9" name="Pladsholder til tekst 2">
            <a:extLst>
              <a:ext uri="{FF2B5EF4-FFF2-40B4-BE49-F238E27FC236}">
                <a16:creationId xmlns:a16="http://schemas.microsoft.com/office/drawing/2014/main" id="{B16EF848-59E3-48CD-8A27-50B0A05D58A1}"/>
              </a:ext>
            </a:extLst>
          </p:cNvPr>
          <p:cNvSpPr>
            <a:spLocks noGrp="1"/>
          </p:cNvSpPr>
          <p:nvPr>
            <p:ph type="body" sz="quarter" idx="21"/>
          </p:nvPr>
        </p:nvSpPr>
        <p:spPr>
          <a:xfrm>
            <a:off x="318546" y="1344001"/>
            <a:ext cx="5259932" cy="4393591"/>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Pladsholder til tekst 2">
            <a:extLst>
              <a:ext uri="{FF2B5EF4-FFF2-40B4-BE49-F238E27FC236}">
                <a16:creationId xmlns:a16="http://schemas.microsoft.com/office/drawing/2014/main" id="{A6BE522A-3991-43C3-8E48-343CB14CB6E0}"/>
              </a:ext>
            </a:extLst>
          </p:cNvPr>
          <p:cNvSpPr>
            <a:spLocks noGrp="1"/>
          </p:cNvSpPr>
          <p:nvPr>
            <p:ph type="body" sz="quarter" idx="22"/>
          </p:nvPr>
        </p:nvSpPr>
        <p:spPr>
          <a:xfrm>
            <a:off x="6327663" y="1344001"/>
            <a:ext cx="5529901" cy="4393591"/>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C046E343-7720-4359-96AA-198BE2AA0CB1}"/>
              </a:ext>
            </a:extLst>
          </p:cNvPr>
          <p:cNvSpPr>
            <a:spLocks noGrp="1"/>
          </p:cNvSpPr>
          <p:nvPr>
            <p:ph type="dt" sz="half" idx="23"/>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6FE35C12-B923-4323-92F9-3D5A6CC6F0F1}"/>
              </a:ext>
            </a:extLst>
          </p:cNvPr>
          <p:cNvSpPr>
            <a:spLocks noGrp="1"/>
          </p:cNvSpPr>
          <p:nvPr>
            <p:ph type="ftr" sz="quarter" idx="24"/>
          </p:nvPr>
        </p:nvSpPr>
        <p:spPr/>
        <p:txBody>
          <a:bodyPr/>
          <a:lstStyle/>
          <a:p>
            <a:endParaRPr lang="en-US"/>
          </a:p>
        </p:txBody>
      </p:sp>
      <p:sp>
        <p:nvSpPr>
          <p:cNvPr id="4" name="Pladsholder til slidenummer 3">
            <a:extLst>
              <a:ext uri="{FF2B5EF4-FFF2-40B4-BE49-F238E27FC236}">
                <a16:creationId xmlns:a16="http://schemas.microsoft.com/office/drawing/2014/main" id="{F6368E18-DDF3-4305-9E8C-96C4E703650F}"/>
              </a:ext>
            </a:extLst>
          </p:cNvPr>
          <p:cNvSpPr>
            <a:spLocks noGrp="1"/>
          </p:cNvSpPr>
          <p:nvPr>
            <p:ph type="sldNum" sz="quarter" idx="25"/>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4079381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489649" y="1765564"/>
            <a:ext cx="5477069" cy="2498148"/>
          </a:xfrm>
          <a:prstGeom prst="rect">
            <a:avLst/>
          </a:prstGeom>
        </p:spPr>
        <p:txBody>
          <a:bodyPr vert="horz" lIns="91440" tIns="0" rIns="91440" bIns="0" rtlCol="0" anchor="ctr" anchorCtr="1">
            <a:normAutofit/>
          </a:bodyPr>
          <a:lstStyle>
            <a:lvl1pPr algn="ctr">
              <a:lnSpc>
                <a:spcPct val="150000"/>
              </a:lnSpc>
              <a:defRPr sz="3600" b="1">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1410650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x text and image">
    <p:spTree>
      <p:nvGrpSpPr>
        <p:cNvPr id="1" name=""/>
        <p:cNvGrpSpPr/>
        <p:nvPr/>
      </p:nvGrpSpPr>
      <p:grpSpPr>
        <a:xfrm>
          <a:off x="0" y="0"/>
          <a:ext cx="0" cy="0"/>
          <a:chOff x="0" y="0"/>
          <a:chExt cx="0" cy="0"/>
        </a:xfrm>
      </p:grpSpPr>
      <p:sp>
        <p:nvSpPr>
          <p:cNvPr id="22" name="Pladsholder til billede 2">
            <a:extLst>
              <a:ext uri="{FF2B5EF4-FFF2-40B4-BE49-F238E27FC236}">
                <a16:creationId xmlns:a16="http://schemas.microsoft.com/office/drawing/2014/main" id="{A4520766-1A0F-4DD5-9F7C-65B6C30C4267}"/>
              </a:ext>
            </a:extLst>
          </p:cNvPr>
          <p:cNvSpPr>
            <a:spLocks noGrp="1"/>
          </p:cNvSpPr>
          <p:nvPr>
            <p:ph type="pic" sz="quarter" idx="20" hasCustomPrompt="1"/>
          </p:nvPr>
        </p:nvSpPr>
        <p:spPr>
          <a:xfrm>
            <a:off x="6463146" y="2754256"/>
            <a:ext cx="5394421" cy="3231913"/>
          </a:xfrm>
          <a:prstGeom prst="rect">
            <a:avLst/>
          </a:prstGeom>
          <a:solidFill>
            <a:srgbClr val="A6A6A6"/>
          </a:solidFill>
        </p:spPr>
        <p:txBody>
          <a:bodyPr/>
          <a:lstStyle>
            <a:lvl1pPr rtl="0">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5562711"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21" name="Pladsholder til tekst 20">
            <a:extLst>
              <a:ext uri="{FF2B5EF4-FFF2-40B4-BE49-F238E27FC236}">
                <a16:creationId xmlns:a16="http://schemas.microsoft.com/office/drawing/2014/main" id="{00F85236-2A2C-42CC-90A8-81CFD73E72DF}"/>
              </a:ext>
            </a:extLst>
          </p:cNvPr>
          <p:cNvSpPr>
            <a:spLocks noGrp="1"/>
          </p:cNvSpPr>
          <p:nvPr>
            <p:ph type="body" sz="quarter" idx="19" hasCustomPrompt="1"/>
          </p:nvPr>
        </p:nvSpPr>
        <p:spPr>
          <a:xfrm>
            <a:off x="6327665" y="720000"/>
            <a:ext cx="5529903" cy="496419"/>
          </a:xfrm>
          <a:prstGeom prst="rect">
            <a:avLst/>
          </a:prstGeom>
        </p:spPr>
        <p:txBody>
          <a:bodyPr>
            <a:noAutofit/>
          </a:bodyPr>
          <a:lstStyle>
            <a:lvl1pPr marL="0" indent="0">
              <a:buNone/>
              <a:defRPr lang="da-DK" sz="3467" b="0" i="0" kern="1200" dirty="0">
                <a:solidFill>
                  <a:srgbClr val="009CA6"/>
                </a:solidFill>
                <a:latin typeface="+mj-lt"/>
                <a:ea typeface="+mn-ea"/>
                <a:cs typeface="+mn-cs"/>
              </a:defRPr>
            </a:lvl1pPr>
          </a:lstStyle>
          <a:p>
            <a:pPr marL="457189" lvl="0" indent="-457189" algn="l" defTabSz="609585" rtl="0" eaLnBrk="1" latinLnBrk="0" hangingPunct="1">
              <a:lnSpc>
                <a:spcPct val="85000"/>
              </a:lnSpc>
              <a:spcBef>
                <a:spcPct val="0"/>
              </a:spcBef>
            </a:pPr>
            <a:r>
              <a:rPr lang="en-US" noProof="0"/>
              <a:t>Headline</a:t>
            </a:r>
          </a:p>
        </p:txBody>
      </p:sp>
      <p:sp>
        <p:nvSpPr>
          <p:cNvPr id="14" name="Pladsholder til billede 2">
            <a:extLst>
              <a:ext uri="{FF2B5EF4-FFF2-40B4-BE49-F238E27FC236}">
                <a16:creationId xmlns:a16="http://schemas.microsoft.com/office/drawing/2014/main" id="{8640134D-B55E-4FA3-A6F2-DFFE60EA6288}"/>
              </a:ext>
            </a:extLst>
          </p:cNvPr>
          <p:cNvSpPr>
            <a:spLocks noGrp="1"/>
          </p:cNvSpPr>
          <p:nvPr>
            <p:ph type="pic" sz="quarter" idx="13" hasCustomPrompt="1"/>
          </p:nvPr>
        </p:nvSpPr>
        <p:spPr>
          <a:xfrm>
            <a:off x="432956" y="2754256"/>
            <a:ext cx="5448301" cy="3231913"/>
          </a:xfrm>
          <a:prstGeom prst="rect">
            <a:avLst/>
          </a:prstGeom>
          <a:solidFill>
            <a:srgbClr val="A6A6A6"/>
          </a:solidFill>
        </p:spPr>
        <p:txBody>
          <a:bodyPr/>
          <a:lstStyle>
            <a:lvl1pPr>
              <a:defRPr b="0" i="1">
                <a:solidFill>
                  <a:schemeClr val="bg1"/>
                </a:solidFill>
              </a:defRPr>
            </a:lvl1pPr>
          </a:lstStyle>
          <a:p>
            <a:r>
              <a:rPr lang="da-DK"/>
              <a:t>Image</a:t>
            </a:r>
          </a:p>
        </p:txBody>
      </p:sp>
      <p:sp>
        <p:nvSpPr>
          <p:cNvPr id="11" name="Pladsholder til tekst 2">
            <a:extLst>
              <a:ext uri="{FF2B5EF4-FFF2-40B4-BE49-F238E27FC236}">
                <a16:creationId xmlns:a16="http://schemas.microsoft.com/office/drawing/2014/main" id="{BE7BEB8E-2CC7-4BB7-987B-D3D416FA8FB1}"/>
              </a:ext>
            </a:extLst>
          </p:cNvPr>
          <p:cNvSpPr>
            <a:spLocks noGrp="1"/>
          </p:cNvSpPr>
          <p:nvPr>
            <p:ph type="body" sz="quarter" idx="21"/>
          </p:nvPr>
        </p:nvSpPr>
        <p:spPr>
          <a:xfrm>
            <a:off x="318545" y="1344000"/>
            <a:ext cx="5562712" cy="496419"/>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3" name="Pladsholder til tekst 2">
            <a:extLst>
              <a:ext uri="{FF2B5EF4-FFF2-40B4-BE49-F238E27FC236}">
                <a16:creationId xmlns:a16="http://schemas.microsoft.com/office/drawing/2014/main" id="{1C5E7902-0C19-4283-8E8C-98003277A9CF}"/>
              </a:ext>
            </a:extLst>
          </p:cNvPr>
          <p:cNvSpPr>
            <a:spLocks noGrp="1"/>
          </p:cNvSpPr>
          <p:nvPr>
            <p:ph type="body" sz="quarter" idx="23"/>
          </p:nvPr>
        </p:nvSpPr>
        <p:spPr>
          <a:xfrm>
            <a:off x="6327665" y="1344000"/>
            <a:ext cx="5529903" cy="496419"/>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4C2450F3-37A2-4B6B-95C3-B48BD6293727}"/>
              </a:ext>
            </a:extLst>
          </p:cNvPr>
          <p:cNvSpPr>
            <a:spLocks noGrp="1"/>
          </p:cNvSpPr>
          <p:nvPr>
            <p:ph type="dt" sz="half" idx="24"/>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31E1F787-4C4B-420E-8655-4D849287C785}"/>
              </a:ext>
            </a:extLst>
          </p:cNvPr>
          <p:cNvSpPr>
            <a:spLocks noGrp="1"/>
          </p:cNvSpPr>
          <p:nvPr>
            <p:ph type="ftr" sz="quarter" idx="25"/>
          </p:nvPr>
        </p:nvSpPr>
        <p:spPr/>
        <p:txBody>
          <a:bodyPr/>
          <a:lstStyle/>
          <a:p>
            <a:endParaRPr lang="en-US"/>
          </a:p>
        </p:txBody>
      </p:sp>
      <p:sp>
        <p:nvSpPr>
          <p:cNvPr id="4" name="Pladsholder til slidenummer 3">
            <a:extLst>
              <a:ext uri="{FF2B5EF4-FFF2-40B4-BE49-F238E27FC236}">
                <a16:creationId xmlns:a16="http://schemas.microsoft.com/office/drawing/2014/main" id="{BAF7A8A9-AD3B-4296-8D0F-692B6FD0C26C}"/>
              </a:ext>
            </a:extLst>
          </p:cNvPr>
          <p:cNvSpPr>
            <a:spLocks noGrp="1"/>
          </p:cNvSpPr>
          <p:nvPr>
            <p:ph type="sldNum" sz="quarter" idx="26"/>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44571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x text and image over under">
    <p:spTree>
      <p:nvGrpSpPr>
        <p:cNvPr id="1" name=""/>
        <p:cNvGrpSpPr/>
        <p:nvPr/>
      </p:nvGrpSpPr>
      <p:grpSpPr>
        <a:xfrm>
          <a:off x="0" y="0"/>
          <a:ext cx="0" cy="0"/>
          <a:chOff x="0" y="0"/>
          <a:chExt cx="0" cy="0"/>
        </a:xfrm>
      </p:grpSpPr>
      <p:sp>
        <p:nvSpPr>
          <p:cNvPr id="22" name="Pladsholder til billede 2">
            <a:extLst>
              <a:ext uri="{FF2B5EF4-FFF2-40B4-BE49-F238E27FC236}">
                <a16:creationId xmlns:a16="http://schemas.microsoft.com/office/drawing/2014/main" id="{A4520766-1A0F-4DD5-9F7C-65B6C30C4267}"/>
              </a:ext>
            </a:extLst>
          </p:cNvPr>
          <p:cNvSpPr>
            <a:spLocks noGrp="1"/>
          </p:cNvSpPr>
          <p:nvPr>
            <p:ph type="pic" sz="quarter" idx="20" hasCustomPrompt="1"/>
          </p:nvPr>
        </p:nvSpPr>
        <p:spPr>
          <a:xfrm>
            <a:off x="6447259" y="940562"/>
            <a:ext cx="5410308" cy="3161757"/>
          </a:xfrm>
          <a:prstGeom prst="rect">
            <a:avLst/>
          </a:prstGeom>
          <a:solidFill>
            <a:srgbClr val="A6A6A6"/>
          </a:solidFill>
        </p:spPr>
        <p:txBody>
          <a:bodyPr/>
          <a:lstStyle>
            <a:lvl1pPr marL="0" indent="0" rtl="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5562711"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21" name="Pladsholder til tekst 20">
            <a:extLst>
              <a:ext uri="{FF2B5EF4-FFF2-40B4-BE49-F238E27FC236}">
                <a16:creationId xmlns:a16="http://schemas.microsoft.com/office/drawing/2014/main" id="{00F85236-2A2C-42CC-90A8-81CFD73E72DF}"/>
              </a:ext>
            </a:extLst>
          </p:cNvPr>
          <p:cNvSpPr>
            <a:spLocks noGrp="1"/>
          </p:cNvSpPr>
          <p:nvPr>
            <p:ph type="body" sz="quarter" idx="19" hasCustomPrompt="1"/>
          </p:nvPr>
        </p:nvSpPr>
        <p:spPr>
          <a:xfrm>
            <a:off x="6327665" y="4245835"/>
            <a:ext cx="5529903" cy="496419"/>
          </a:xfrm>
          <a:prstGeom prst="rect">
            <a:avLst/>
          </a:prstGeom>
        </p:spPr>
        <p:txBody>
          <a:bodyPr>
            <a:noAutofit/>
          </a:bodyPr>
          <a:lstStyle>
            <a:lvl1pPr marL="0" indent="0">
              <a:buNone/>
              <a:defRPr lang="da-DK" sz="3467" b="0" i="0" kern="1200" dirty="0">
                <a:solidFill>
                  <a:srgbClr val="009CA6"/>
                </a:solidFill>
                <a:latin typeface="+mj-lt"/>
                <a:ea typeface="+mn-ea"/>
                <a:cs typeface="+mn-cs"/>
              </a:defRPr>
            </a:lvl1pPr>
          </a:lstStyle>
          <a:p>
            <a:pPr marL="457189" lvl="0" indent="-457189" algn="l" defTabSz="609585" rtl="0" eaLnBrk="1" latinLnBrk="0" hangingPunct="1">
              <a:lnSpc>
                <a:spcPct val="85000"/>
              </a:lnSpc>
              <a:spcBef>
                <a:spcPct val="0"/>
              </a:spcBef>
            </a:pPr>
            <a:r>
              <a:rPr lang="en-US" noProof="0"/>
              <a:t>Headline</a:t>
            </a:r>
          </a:p>
        </p:txBody>
      </p:sp>
      <p:sp>
        <p:nvSpPr>
          <p:cNvPr id="14" name="Pladsholder til billede 2">
            <a:extLst>
              <a:ext uri="{FF2B5EF4-FFF2-40B4-BE49-F238E27FC236}">
                <a16:creationId xmlns:a16="http://schemas.microsoft.com/office/drawing/2014/main" id="{8640134D-B55E-4FA3-A6F2-DFFE60EA6288}"/>
              </a:ext>
            </a:extLst>
          </p:cNvPr>
          <p:cNvSpPr>
            <a:spLocks noGrp="1"/>
          </p:cNvSpPr>
          <p:nvPr>
            <p:ph type="pic" sz="quarter" idx="13" hasCustomPrompt="1"/>
          </p:nvPr>
        </p:nvSpPr>
        <p:spPr>
          <a:xfrm>
            <a:off x="432956" y="2824411"/>
            <a:ext cx="5448301" cy="3161757"/>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1" name="Pladsholder til tekst 2">
            <a:extLst>
              <a:ext uri="{FF2B5EF4-FFF2-40B4-BE49-F238E27FC236}">
                <a16:creationId xmlns:a16="http://schemas.microsoft.com/office/drawing/2014/main" id="{3A8B920A-7BAF-436F-AFBA-E198FB3558D9}"/>
              </a:ext>
            </a:extLst>
          </p:cNvPr>
          <p:cNvSpPr>
            <a:spLocks noGrp="1"/>
          </p:cNvSpPr>
          <p:nvPr>
            <p:ph type="body" sz="quarter" idx="21"/>
          </p:nvPr>
        </p:nvSpPr>
        <p:spPr>
          <a:xfrm>
            <a:off x="318546" y="1344001"/>
            <a:ext cx="5562711" cy="486177"/>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3" name="Pladsholder til tekst 2">
            <a:extLst>
              <a:ext uri="{FF2B5EF4-FFF2-40B4-BE49-F238E27FC236}">
                <a16:creationId xmlns:a16="http://schemas.microsoft.com/office/drawing/2014/main" id="{A9A9638F-A7CD-4998-8F9E-101F2E5767DF}"/>
              </a:ext>
            </a:extLst>
          </p:cNvPr>
          <p:cNvSpPr>
            <a:spLocks noGrp="1"/>
          </p:cNvSpPr>
          <p:nvPr>
            <p:ph type="body" sz="quarter" idx="23"/>
          </p:nvPr>
        </p:nvSpPr>
        <p:spPr>
          <a:xfrm>
            <a:off x="6327665" y="4839097"/>
            <a:ext cx="5529903" cy="486177"/>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Pladsholder til dato 1">
            <a:extLst>
              <a:ext uri="{FF2B5EF4-FFF2-40B4-BE49-F238E27FC236}">
                <a16:creationId xmlns:a16="http://schemas.microsoft.com/office/drawing/2014/main" id="{FB315A29-46EE-47CB-BAAF-AB6BC933D9E5}"/>
              </a:ext>
            </a:extLst>
          </p:cNvPr>
          <p:cNvSpPr>
            <a:spLocks noGrp="1"/>
          </p:cNvSpPr>
          <p:nvPr>
            <p:ph type="dt" sz="half" idx="24"/>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8A9C6F44-9F71-4EB4-A27B-BF70FE6E0A5F}"/>
              </a:ext>
            </a:extLst>
          </p:cNvPr>
          <p:cNvSpPr>
            <a:spLocks noGrp="1"/>
          </p:cNvSpPr>
          <p:nvPr>
            <p:ph type="ftr" sz="quarter" idx="25"/>
          </p:nvPr>
        </p:nvSpPr>
        <p:spPr/>
        <p:txBody>
          <a:bodyPr/>
          <a:lstStyle/>
          <a:p>
            <a:endParaRPr lang="en-US"/>
          </a:p>
        </p:txBody>
      </p:sp>
      <p:sp>
        <p:nvSpPr>
          <p:cNvPr id="4" name="Pladsholder til slidenummer 3">
            <a:extLst>
              <a:ext uri="{FF2B5EF4-FFF2-40B4-BE49-F238E27FC236}">
                <a16:creationId xmlns:a16="http://schemas.microsoft.com/office/drawing/2014/main" id="{4A52BB59-AABE-4887-95C1-AF7BEAE9AD61}"/>
              </a:ext>
            </a:extLst>
          </p:cNvPr>
          <p:cNvSpPr>
            <a:spLocks noGrp="1"/>
          </p:cNvSpPr>
          <p:nvPr>
            <p:ph type="sldNum" sz="quarter" idx="26"/>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4134814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image">
    <p:spTree>
      <p:nvGrpSpPr>
        <p:cNvPr id="1" name=""/>
        <p:cNvGrpSpPr/>
        <p:nvPr/>
      </p:nvGrpSpPr>
      <p:grpSpPr>
        <a:xfrm>
          <a:off x="0" y="0"/>
          <a:ext cx="0" cy="0"/>
          <a:chOff x="0" y="0"/>
          <a:chExt cx="0" cy="0"/>
        </a:xfrm>
      </p:grpSpPr>
      <p:sp>
        <p:nvSpPr>
          <p:cNvPr id="14" name="Pladsholder til billede 2">
            <a:extLst>
              <a:ext uri="{FF2B5EF4-FFF2-40B4-BE49-F238E27FC236}">
                <a16:creationId xmlns:a16="http://schemas.microsoft.com/office/drawing/2014/main" id="{147FD170-1F40-4981-B3EC-05B76A4395C5}"/>
              </a:ext>
            </a:extLst>
          </p:cNvPr>
          <p:cNvSpPr>
            <a:spLocks noGrp="1"/>
          </p:cNvSpPr>
          <p:nvPr>
            <p:ph type="pic" sz="quarter" idx="13" hasCustomPrompt="1"/>
          </p:nvPr>
        </p:nvSpPr>
        <p:spPr>
          <a:xfrm>
            <a:off x="2566323" y="1625600"/>
            <a:ext cx="6576036" cy="4247256"/>
          </a:xfrm>
          <a:prstGeom prst="rect">
            <a:avLst/>
          </a:prstGeom>
          <a:solidFill>
            <a:srgbClr val="A6A6A6"/>
          </a:solidFill>
        </p:spPr>
        <p:txBody>
          <a:bodyPr/>
          <a:lstStyle>
            <a:lvl1pPr marL="0" indent="0">
              <a:buFontTx/>
              <a:buNone/>
              <a:defRPr b="0" i="1">
                <a:solidFill>
                  <a:schemeClr val="bg1"/>
                </a:solidFill>
              </a:defRPr>
            </a:lvl1pPr>
          </a:lstStyle>
          <a:p>
            <a:r>
              <a:rPr lang="da-DK"/>
              <a:t>Imag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11539020"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2" name="Pladsholder til dato 1">
            <a:extLst>
              <a:ext uri="{FF2B5EF4-FFF2-40B4-BE49-F238E27FC236}">
                <a16:creationId xmlns:a16="http://schemas.microsoft.com/office/drawing/2014/main" id="{B6C9B1DD-0CA1-485A-A461-747AADD4F4FC}"/>
              </a:ext>
            </a:extLst>
          </p:cNvPr>
          <p:cNvSpPr>
            <a:spLocks noGrp="1"/>
          </p:cNvSpPr>
          <p:nvPr>
            <p:ph type="dt" sz="half" idx="14"/>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DFD1BDE6-CD80-40DB-AB5C-59E3B9234F61}"/>
              </a:ext>
            </a:extLst>
          </p:cNvPr>
          <p:cNvSpPr>
            <a:spLocks noGrp="1"/>
          </p:cNvSpPr>
          <p:nvPr>
            <p:ph type="ftr" sz="quarter" idx="15"/>
          </p:nvPr>
        </p:nvSpPr>
        <p:spPr/>
        <p:txBody>
          <a:bodyPr/>
          <a:lstStyle/>
          <a:p>
            <a:endParaRPr lang="en-US"/>
          </a:p>
        </p:txBody>
      </p:sp>
      <p:sp>
        <p:nvSpPr>
          <p:cNvPr id="4" name="Pladsholder til slidenummer 3">
            <a:extLst>
              <a:ext uri="{FF2B5EF4-FFF2-40B4-BE49-F238E27FC236}">
                <a16:creationId xmlns:a16="http://schemas.microsoft.com/office/drawing/2014/main" id="{ED5C73C5-53C8-4B48-B5B3-75678C2B1F4B}"/>
              </a:ext>
            </a:extLst>
          </p:cNvPr>
          <p:cNvSpPr>
            <a:spLocks noGrp="1"/>
          </p:cNvSpPr>
          <p:nvPr>
            <p:ph type="sldNum" sz="quarter" idx="16"/>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38905575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box">
    <p:spTree>
      <p:nvGrpSpPr>
        <p:cNvPr id="1" name=""/>
        <p:cNvGrpSpPr/>
        <p:nvPr/>
      </p:nvGrpSpPr>
      <p:grpSpPr>
        <a:xfrm>
          <a:off x="0" y="0"/>
          <a:ext cx="0" cy="0"/>
          <a:chOff x="0" y="0"/>
          <a:chExt cx="0" cy="0"/>
        </a:xfrm>
      </p:grpSpPr>
      <p:sp>
        <p:nvSpPr>
          <p:cNvPr id="9" name="Rectangle: Rounded Corners 4">
            <a:extLst>
              <a:ext uri="{FF2B5EF4-FFF2-40B4-BE49-F238E27FC236}">
                <a16:creationId xmlns:a16="http://schemas.microsoft.com/office/drawing/2014/main" id="{9BEACCDE-0177-4AFC-B161-E7386289D802}"/>
              </a:ext>
            </a:extLst>
          </p:cNvPr>
          <p:cNvSpPr/>
          <p:nvPr userDrawn="1"/>
        </p:nvSpPr>
        <p:spPr>
          <a:xfrm>
            <a:off x="463711" y="2078325"/>
            <a:ext cx="11409744" cy="3642536"/>
          </a:xfrm>
          <a:prstGeom prst="roundRect">
            <a:avLst>
              <a:gd name="adj" fmla="val 0"/>
            </a:avLst>
          </a:prstGeom>
          <a:solidFill>
            <a:srgbClr val="EA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el 1">
            <a:extLst>
              <a:ext uri="{FF2B5EF4-FFF2-40B4-BE49-F238E27FC236}">
                <a16:creationId xmlns:a16="http://schemas.microsoft.com/office/drawing/2014/main" id="{249168E1-C449-4665-A343-795B2C545D7F}"/>
              </a:ext>
            </a:extLst>
          </p:cNvPr>
          <p:cNvSpPr>
            <a:spLocks noGrp="1"/>
          </p:cNvSpPr>
          <p:nvPr>
            <p:ph type="title" hasCustomPrompt="1"/>
          </p:nvPr>
        </p:nvSpPr>
        <p:spPr>
          <a:xfrm>
            <a:off x="318546" y="720000"/>
            <a:ext cx="11539021" cy="520491"/>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8" name="Pladsholder til tekst 27">
            <a:extLst>
              <a:ext uri="{FF2B5EF4-FFF2-40B4-BE49-F238E27FC236}">
                <a16:creationId xmlns:a16="http://schemas.microsoft.com/office/drawing/2014/main" id="{B19685C8-5C60-46EE-BADE-0CB5128CFC17}"/>
              </a:ext>
            </a:extLst>
          </p:cNvPr>
          <p:cNvSpPr>
            <a:spLocks noGrp="1"/>
          </p:cNvSpPr>
          <p:nvPr>
            <p:ph type="body" sz="quarter" idx="14" hasCustomPrompt="1"/>
          </p:nvPr>
        </p:nvSpPr>
        <p:spPr>
          <a:xfrm>
            <a:off x="316801" y="1344000"/>
            <a:ext cx="11494737" cy="490235"/>
          </a:xfrm>
          <a:prstGeom prst="rect">
            <a:avLst/>
          </a:prstGeom>
        </p:spPr>
        <p:txBody>
          <a:bodyPr>
            <a:noAutofit/>
          </a:bodyPr>
          <a:lstStyle>
            <a:lvl1pPr marL="239178" indent="-239178" algn="l" defTabSz="609585" rtl="0" eaLnBrk="1" latinLnBrk="0" hangingPunct="1">
              <a:buFont typeface="+mj-lt"/>
              <a:buNone/>
              <a:defRPr lang="da-DK" sz="1733" b="0" kern="1200" dirty="0" smtClean="0">
                <a:solidFill>
                  <a:schemeClr val="tx1"/>
                </a:solidFill>
                <a:latin typeface="+mj-lt"/>
                <a:ea typeface="+mn-ea"/>
                <a:cs typeface="+mn-cs"/>
              </a:defRPr>
            </a:lvl1pPr>
          </a:lstStyle>
          <a:p>
            <a:pPr lvl="0"/>
            <a:r>
              <a:rPr lang="en-US"/>
              <a:t>Text can be added here</a:t>
            </a:r>
          </a:p>
        </p:txBody>
      </p:sp>
      <p:sp>
        <p:nvSpPr>
          <p:cNvPr id="10" name="Pladsholder til tekst 2">
            <a:extLst>
              <a:ext uri="{FF2B5EF4-FFF2-40B4-BE49-F238E27FC236}">
                <a16:creationId xmlns:a16="http://schemas.microsoft.com/office/drawing/2014/main" id="{061BFE70-C038-451A-9B86-F7D04289DB8B}"/>
              </a:ext>
            </a:extLst>
          </p:cNvPr>
          <p:cNvSpPr>
            <a:spLocks noGrp="1"/>
          </p:cNvSpPr>
          <p:nvPr>
            <p:ph type="body" sz="quarter" idx="21"/>
          </p:nvPr>
        </p:nvSpPr>
        <p:spPr>
          <a:xfrm>
            <a:off x="623998" y="2235461"/>
            <a:ext cx="11104289" cy="3298371"/>
          </a:xfrm>
          <a:prstGeom prst="rect">
            <a:avLst/>
          </a:prstGeom>
        </p:spPr>
        <p:txBody>
          <a:bodyPr>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3" name="Pladsholder til dato 2">
            <a:extLst>
              <a:ext uri="{FF2B5EF4-FFF2-40B4-BE49-F238E27FC236}">
                <a16:creationId xmlns:a16="http://schemas.microsoft.com/office/drawing/2014/main" id="{34D74263-2655-461B-AED2-60765702B717}"/>
              </a:ext>
            </a:extLst>
          </p:cNvPr>
          <p:cNvSpPr>
            <a:spLocks noGrp="1"/>
          </p:cNvSpPr>
          <p:nvPr>
            <p:ph type="dt" sz="half" idx="22"/>
          </p:nvPr>
        </p:nvSpPr>
        <p:spPr/>
        <p:txBody>
          <a:bodyPr/>
          <a:lstStyle/>
          <a:p>
            <a:pPr algn="r"/>
            <a:fld id="{3773308A-2C49-49AA-B7E5-A2C551993136}" type="datetimeFigureOut">
              <a:rPr lang="en-US" smtClean="0"/>
              <a:pPr algn="r"/>
              <a:t>4/18/2024</a:t>
            </a:fld>
            <a:endParaRPr lang="en-US"/>
          </a:p>
        </p:txBody>
      </p:sp>
      <p:sp>
        <p:nvSpPr>
          <p:cNvPr id="7" name="Pladsholder til sidefod 6">
            <a:extLst>
              <a:ext uri="{FF2B5EF4-FFF2-40B4-BE49-F238E27FC236}">
                <a16:creationId xmlns:a16="http://schemas.microsoft.com/office/drawing/2014/main" id="{90DC1089-8FB1-42F7-92E9-494D9F2478A5}"/>
              </a:ext>
            </a:extLst>
          </p:cNvPr>
          <p:cNvSpPr>
            <a:spLocks noGrp="1"/>
          </p:cNvSpPr>
          <p:nvPr>
            <p:ph type="ftr" sz="quarter" idx="23"/>
          </p:nvPr>
        </p:nvSpPr>
        <p:spPr/>
        <p:txBody>
          <a:bodyPr/>
          <a:lstStyle/>
          <a:p>
            <a:endParaRPr lang="en-US"/>
          </a:p>
        </p:txBody>
      </p:sp>
      <p:sp>
        <p:nvSpPr>
          <p:cNvPr id="11" name="Pladsholder til slidenummer 10">
            <a:extLst>
              <a:ext uri="{FF2B5EF4-FFF2-40B4-BE49-F238E27FC236}">
                <a16:creationId xmlns:a16="http://schemas.microsoft.com/office/drawing/2014/main" id="{8C47BB1D-4B98-49E6-8A92-5E7A0D0F4F19}"/>
              </a:ext>
            </a:extLst>
          </p:cNvPr>
          <p:cNvSpPr>
            <a:spLocks noGrp="1"/>
          </p:cNvSpPr>
          <p:nvPr>
            <p:ph type="sldNum" sz="quarter" idx="24"/>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9596220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x boxes">
    <p:spTree>
      <p:nvGrpSpPr>
        <p:cNvPr id="1" name=""/>
        <p:cNvGrpSpPr/>
        <p:nvPr/>
      </p:nvGrpSpPr>
      <p:grpSpPr>
        <a:xfrm>
          <a:off x="0" y="0"/>
          <a:ext cx="0" cy="0"/>
          <a:chOff x="0" y="0"/>
          <a:chExt cx="0" cy="0"/>
        </a:xfrm>
      </p:grpSpPr>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11539020"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11" name="Pladsholder til tekst 2">
            <a:extLst>
              <a:ext uri="{FF2B5EF4-FFF2-40B4-BE49-F238E27FC236}">
                <a16:creationId xmlns:a16="http://schemas.microsoft.com/office/drawing/2014/main" id="{EE58B34F-0D9C-4729-81EE-F746C4CB426C}"/>
              </a:ext>
            </a:extLst>
          </p:cNvPr>
          <p:cNvSpPr>
            <a:spLocks noGrp="1"/>
          </p:cNvSpPr>
          <p:nvPr>
            <p:ph type="body" sz="quarter" idx="21"/>
          </p:nvPr>
        </p:nvSpPr>
        <p:spPr>
          <a:xfrm>
            <a:off x="318547" y="1344000"/>
            <a:ext cx="11539019" cy="496419"/>
          </a:xfrm>
          <a:prstGeom prst="rect">
            <a:avLst/>
          </a:prstGeom>
        </p:spPr>
        <p:txBody>
          <a:bodyPr>
            <a:noAutofit/>
          </a:bodyPr>
          <a:lstStyle>
            <a:lvl1pPr marL="0" indent="0">
              <a:buFontTx/>
              <a:buNone/>
              <a:defRPr/>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3" name="Rectangle 12">
            <a:extLst>
              <a:ext uri="{FF2B5EF4-FFF2-40B4-BE49-F238E27FC236}">
                <a16:creationId xmlns:a16="http://schemas.microsoft.com/office/drawing/2014/main" id="{5F115056-4718-9A44-B89C-A6D834055971}"/>
              </a:ext>
            </a:extLst>
          </p:cNvPr>
          <p:cNvSpPr/>
          <p:nvPr userDrawn="1"/>
        </p:nvSpPr>
        <p:spPr>
          <a:xfrm>
            <a:off x="849929" y="3422995"/>
            <a:ext cx="3362512" cy="1257075"/>
          </a:xfrm>
          <a:prstGeom prst="rect">
            <a:avLst/>
          </a:prstGeom>
        </p:spPr>
        <p:txBody>
          <a:bodyPr wrap="square">
            <a:spAutoFit/>
          </a:bodyPr>
          <a:lstStyle/>
          <a:p>
            <a:pPr marL="239178" indent="-234945">
              <a:lnSpc>
                <a:spcPts val="2347"/>
              </a:lnSpc>
              <a:buFont typeface="Arial" panose="020B0604020202020204" pitchFamily="34" charset="0"/>
              <a:buChar char="•"/>
              <a:tabLst/>
            </a:pPr>
            <a:r>
              <a:rPr lang="en-DK" sz="1733">
                <a:solidFill>
                  <a:schemeClr val="bg1"/>
                </a:solidFill>
              </a:rPr>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solidFill>
                  <a:schemeClr val="bg1"/>
                </a:solidFill>
              </a:rPr>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solidFill>
                  <a:schemeClr val="bg1"/>
                </a:solidFill>
              </a:rPr>
              <a:t>Ad text here</a:t>
            </a:r>
          </a:p>
          <a:p>
            <a:pPr marL="239178" indent="-234945">
              <a:lnSpc>
                <a:spcPts val="2347"/>
              </a:lnSpc>
              <a:buFont typeface="Arial" panose="020B0604020202020204" pitchFamily="34" charset="0"/>
              <a:buChar char="•"/>
              <a:tabLst/>
            </a:pPr>
            <a:endParaRPr lang="en-DK" sz="1733">
              <a:solidFill>
                <a:schemeClr val="bg1"/>
              </a:solidFill>
            </a:endParaRPr>
          </a:p>
        </p:txBody>
      </p:sp>
      <p:sp>
        <p:nvSpPr>
          <p:cNvPr id="14" name="Text Placeholder 17">
            <a:extLst>
              <a:ext uri="{FF2B5EF4-FFF2-40B4-BE49-F238E27FC236}">
                <a16:creationId xmlns:a16="http://schemas.microsoft.com/office/drawing/2014/main" id="{C66FBDAA-C322-A641-8984-29E83F2F7C88}"/>
              </a:ext>
            </a:extLst>
          </p:cNvPr>
          <p:cNvSpPr>
            <a:spLocks noGrp="1"/>
          </p:cNvSpPr>
          <p:nvPr>
            <p:ph type="body" sz="quarter" idx="30" hasCustomPrompt="1"/>
          </p:nvPr>
        </p:nvSpPr>
        <p:spPr>
          <a:xfrm>
            <a:off x="453258" y="2804793"/>
            <a:ext cx="3557271" cy="3202767"/>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18" name="Text Placeholder 23">
            <a:extLst>
              <a:ext uri="{FF2B5EF4-FFF2-40B4-BE49-F238E27FC236}">
                <a16:creationId xmlns:a16="http://schemas.microsoft.com/office/drawing/2014/main" id="{DAC4452A-E1EF-CB45-A7A3-FF2BF4EF4EE6}"/>
              </a:ext>
            </a:extLst>
          </p:cNvPr>
          <p:cNvSpPr>
            <a:spLocks noGrp="1"/>
          </p:cNvSpPr>
          <p:nvPr>
            <p:ph type="body" sz="quarter" idx="31" hasCustomPrompt="1"/>
          </p:nvPr>
        </p:nvSpPr>
        <p:spPr>
          <a:xfrm>
            <a:off x="790440" y="3422995"/>
            <a:ext cx="3220089" cy="2584564"/>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19" name="Text Placeholder 17">
            <a:extLst>
              <a:ext uri="{FF2B5EF4-FFF2-40B4-BE49-F238E27FC236}">
                <a16:creationId xmlns:a16="http://schemas.microsoft.com/office/drawing/2014/main" id="{E81FD486-D4FB-2E44-A1C4-15BAEEC87047}"/>
              </a:ext>
            </a:extLst>
          </p:cNvPr>
          <p:cNvSpPr>
            <a:spLocks noGrp="1"/>
          </p:cNvSpPr>
          <p:nvPr>
            <p:ph type="body" sz="quarter" idx="32" hasCustomPrompt="1"/>
          </p:nvPr>
        </p:nvSpPr>
        <p:spPr>
          <a:xfrm>
            <a:off x="4309054" y="2804793"/>
            <a:ext cx="3557271" cy="3202767"/>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20" name="Text Placeholder 23">
            <a:extLst>
              <a:ext uri="{FF2B5EF4-FFF2-40B4-BE49-F238E27FC236}">
                <a16:creationId xmlns:a16="http://schemas.microsoft.com/office/drawing/2014/main" id="{D4650728-4504-F644-91B1-AEF9AD882230}"/>
              </a:ext>
            </a:extLst>
          </p:cNvPr>
          <p:cNvSpPr>
            <a:spLocks noGrp="1"/>
          </p:cNvSpPr>
          <p:nvPr>
            <p:ph type="body" sz="quarter" idx="33" hasCustomPrompt="1"/>
          </p:nvPr>
        </p:nvSpPr>
        <p:spPr>
          <a:xfrm>
            <a:off x="4646236" y="3422995"/>
            <a:ext cx="3220089" cy="2584564"/>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21" name="Text Placeholder 17">
            <a:extLst>
              <a:ext uri="{FF2B5EF4-FFF2-40B4-BE49-F238E27FC236}">
                <a16:creationId xmlns:a16="http://schemas.microsoft.com/office/drawing/2014/main" id="{A4C8C77F-EB42-2842-95C0-8883909BAD89}"/>
              </a:ext>
            </a:extLst>
          </p:cNvPr>
          <p:cNvSpPr>
            <a:spLocks noGrp="1"/>
          </p:cNvSpPr>
          <p:nvPr>
            <p:ph type="body" sz="quarter" idx="34" hasCustomPrompt="1"/>
          </p:nvPr>
        </p:nvSpPr>
        <p:spPr>
          <a:xfrm>
            <a:off x="8163121" y="2804793"/>
            <a:ext cx="3557271" cy="3202767"/>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22" name="Text Placeholder 23">
            <a:extLst>
              <a:ext uri="{FF2B5EF4-FFF2-40B4-BE49-F238E27FC236}">
                <a16:creationId xmlns:a16="http://schemas.microsoft.com/office/drawing/2014/main" id="{313A644E-4C6D-0843-9AA7-9E88C646225A}"/>
              </a:ext>
            </a:extLst>
          </p:cNvPr>
          <p:cNvSpPr>
            <a:spLocks noGrp="1"/>
          </p:cNvSpPr>
          <p:nvPr>
            <p:ph type="body" sz="quarter" idx="35" hasCustomPrompt="1"/>
          </p:nvPr>
        </p:nvSpPr>
        <p:spPr>
          <a:xfrm>
            <a:off x="8500302" y="3422995"/>
            <a:ext cx="3220089" cy="2584564"/>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2" name="Pladsholder til dato 1">
            <a:extLst>
              <a:ext uri="{FF2B5EF4-FFF2-40B4-BE49-F238E27FC236}">
                <a16:creationId xmlns:a16="http://schemas.microsoft.com/office/drawing/2014/main" id="{A0EAD97E-E36B-4DB0-B85A-B8CC18D93691}"/>
              </a:ext>
            </a:extLst>
          </p:cNvPr>
          <p:cNvSpPr>
            <a:spLocks noGrp="1"/>
          </p:cNvSpPr>
          <p:nvPr>
            <p:ph type="dt" sz="half" idx="36"/>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9FB7A21F-9F01-4BFC-85D5-0CBC97E3014B}"/>
              </a:ext>
            </a:extLst>
          </p:cNvPr>
          <p:cNvSpPr>
            <a:spLocks noGrp="1"/>
          </p:cNvSpPr>
          <p:nvPr>
            <p:ph type="ftr" sz="quarter" idx="37"/>
          </p:nvPr>
        </p:nvSpPr>
        <p:spPr/>
        <p:txBody>
          <a:bodyPr/>
          <a:lstStyle/>
          <a:p>
            <a:endParaRPr lang="en-US"/>
          </a:p>
        </p:txBody>
      </p:sp>
      <p:sp>
        <p:nvSpPr>
          <p:cNvPr id="4" name="Pladsholder til slidenummer 3">
            <a:extLst>
              <a:ext uri="{FF2B5EF4-FFF2-40B4-BE49-F238E27FC236}">
                <a16:creationId xmlns:a16="http://schemas.microsoft.com/office/drawing/2014/main" id="{967F2468-5F88-45DD-BAC2-6D33CC707D2C}"/>
              </a:ext>
            </a:extLst>
          </p:cNvPr>
          <p:cNvSpPr>
            <a:spLocks noGrp="1"/>
          </p:cNvSpPr>
          <p:nvPr>
            <p:ph type="sldNum" sz="quarter" idx="38"/>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31116349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x boxes">
    <p:spTree>
      <p:nvGrpSpPr>
        <p:cNvPr id="1" name=""/>
        <p:cNvGrpSpPr/>
        <p:nvPr/>
      </p:nvGrpSpPr>
      <p:grpSpPr>
        <a:xfrm>
          <a:off x="0" y="0"/>
          <a:ext cx="0" cy="0"/>
          <a:chOff x="0" y="0"/>
          <a:chExt cx="0" cy="0"/>
        </a:xfrm>
      </p:grpSpPr>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11539020"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11" name="Pladsholder til tekst 2">
            <a:extLst>
              <a:ext uri="{FF2B5EF4-FFF2-40B4-BE49-F238E27FC236}">
                <a16:creationId xmlns:a16="http://schemas.microsoft.com/office/drawing/2014/main" id="{61A12C3C-F5BE-4117-9FA3-73E42BDEC9BA}"/>
              </a:ext>
            </a:extLst>
          </p:cNvPr>
          <p:cNvSpPr>
            <a:spLocks noGrp="1"/>
          </p:cNvSpPr>
          <p:nvPr>
            <p:ph type="body" sz="quarter" idx="24"/>
          </p:nvPr>
        </p:nvSpPr>
        <p:spPr>
          <a:xfrm>
            <a:off x="318547" y="1344000"/>
            <a:ext cx="11539019" cy="496419"/>
          </a:xfrm>
          <a:prstGeom prst="rect">
            <a:avLst/>
          </a:prstGeom>
        </p:spPr>
        <p:txBody>
          <a:bodyPr>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Text Placeholder 17">
            <a:extLst>
              <a:ext uri="{FF2B5EF4-FFF2-40B4-BE49-F238E27FC236}">
                <a16:creationId xmlns:a16="http://schemas.microsoft.com/office/drawing/2014/main" id="{FEA95305-50D9-7640-9DB6-513C9ADB96AC}"/>
              </a:ext>
            </a:extLst>
          </p:cNvPr>
          <p:cNvSpPr>
            <a:spLocks noGrp="1"/>
          </p:cNvSpPr>
          <p:nvPr>
            <p:ph type="body" sz="quarter" idx="30" hasCustomPrompt="1"/>
          </p:nvPr>
        </p:nvSpPr>
        <p:spPr>
          <a:xfrm>
            <a:off x="433819" y="2703719"/>
            <a:ext cx="2619375" cy="3303843"/>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18" name="Text Placeholder 23">
            <a:extLst>
              <a:ext uri="{FF2B5EF4-FFF2-40B4-BE49-F238E27FC236}">
                <a16:creationId xmlns:a16="http://schemas.microsoft.com/office/drawing/2014/main" id="{912E4C15-BD18-5441-97D0-5FB379FA59E0}"/>
              </a:ext>
            </a:extLst>
          </p:cNvPr>
          <p:cNvSpPr>
            <a:spLocks noGrp="1"/>
          </p:cNvSpPr>
          <p:nvPr>
            <p:ph type="body" sz="quarter" idx="31" hasCustomPrompt="1"/>
          </p:nvPr>
        </p:nvSpPr>
        <p:spPr>
          <a:xfrm>
            <a:off x="771001" y="3321921"/>
            <a:ext cx="2282193" cy="2685640"/>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19" name="Text Placeholder 17">
            <a:extLst>
              <a:ext uri="{FF2B5EF4-FFF2-40B4-BE49-F238E27FC236}">
                <a16:creationId xmlns:a16="http://schemas.microsoft.com/office/drawing/2014/main" id="{480A5579-23C2-164A-BF57-F0D3A63BDF74}"/>
              </a:ext>
            </a:extLst>
          </p:cNvPr>
          <p:cNvSpPr>
            <a:spLocks noGrp="1"/>
          </p:cNvSpPr>
          <p:nvPr>
            <p:ph type="body" sz="quarter" idx="32" hasCustomPrompt="1"/>
          </p:nvPr>
        </p:nvSpPr>
        <p:spPr>
          <a:xfrm>
            <a:off x="3304645" y="2703719"/>
            <a:ext cx="2619375" cy="3303843"/>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20" name="Text Placeholder 23">
            <a:extLst>
              <a:ext uri="{FF2B5EF4-FFF2-40B4-BE49-F238E27FC236}">
                <a16:creationId xmlns:a16="http://schemas.microsoft.com/office/drawing/2014/main" id="{C1A7BC86-D16F-0946-BD7F-4E656EF9AD0E}"/>
              </a:ext>
            </a:extLst>
          </p:cNvPr>
          <p:cNvSpPr>
            <a:spLocks noGrp="1"/>
          </p:cNvSpPr>
          <p:nvPr>
            <p:ph type="body" sz="quarter" idx="33" hasCustomPrompt="1"/>
          </p:nvPr>
        </p:nvSpPr>
        <p:spPr>
          <a:xfrm>
            <a:off x="3641826" y="3321921"/>
            <a:ext cx="2282193" cy="2685640"/>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21" name="Text Placeholder 17">
            <a:extLst>
              <a:ext uri="{FF2B5EF4-FFF2-40B4-BE49-F238E27FC236}">
                <a16:creationId xmlns:a16="http://schemas.microsoft.com/office/drawing/2014/main" id="{D9C1B5AC-23D0-DC47-96AC-F6697EA473B0}"/>
              </a:ext>
            </a:extLst>
          </p:cNvPr>
          <p:cNvSpPr>
            <a:spLocks noGrp="1"/>
          </p:cNvSpPr>
          <p:nvPr>
            <p:ph type="body" sz="quarter" idx="34" hasCustomPrompt="1"/>
          </p:nvPr>
        </p:nvSpPr>
        <p:spPr>
          <a:xfrm>
            <a:off x="6175470" y="2703719"/>
            <a:ext cx="2619375" cy="3303843"/>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22" name="Text Placeholder 23">
            <a:extLst>
              <a:ext uri="{FF2B5EF4-FFF2-40B4-BE49-F238E27FC236}">
                <a16:creationId xmlns:a16="http://schemas.microsoft.com/office/drawing/2014/main" id="{8C8F20E2-B699-004D-BB4C-C5A223D13F90}"/>
              </a:ext>
            </a:extLst>
          </p:cNvPr>
          <p:cNvSpPr>
            <a:spLocks noGrp="1"/>
          </p:cNvSpPr>
          <p:nvPr>
            <p:ph type="body" sz="quarter" idx="35" hasCustomPrompt="1"/>
          </p:nvPr>
        </p:nvSpPr>
        <p:spPr>
          <a:xfrm>
            <a:off x="6512652" y="3321921"/>
            <a:ext cx="2282193" cy="2685640"/>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23" name="Text Placeholder 17">
            <a:extLst>
              <a:ext uri="{FF2B5EF4-FFF2-40B4-BE49-F238E27FC236}">
                <a16:creationId xmlns:a16="http://schemas.microsoft.com/office/drawing/2014/main" id="{66B151EE-4D85-5A45-A3B7-BEAFF3A8EFC5}"/>
              </a:ext>
            </a:extLst>
          </p:cNvPr>
          <p:cNvSpPr>
            <a:spLocks noGrp="1"/>
          </p:cNvSpPr>
          <p:nvPr>
            <p:ph type="body" sz="quarter" idx="36" hasCustomPrompt="1"/>
          </p:nvPr>
        </p:nvSpPr>
        <p:spPr>
          <a:xfrm>
            <a:off x="9046295" y="2703719"/>
            <a:ext cx="2619375" cy="3303843"/>
          </a:xfrm>
          <a:solidFill>
            <a:srgbClr val="EAEBEB"/>
          </a:solidFill>
        </p:spPr>
        <p:txBody>
          <a:bodyPr lIns="180000" tIns="144000">
            <a:normAutofit/>
          </a:bodyPr>
          <a:lstStyle>
            <a:lvl1pPr>
              <a:defRPr sz="1867" b="1">
                <a:solidFill>
                  <a:srgbClr val="009BA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Headline</a:t>
            </a:r>
            <a:endParaRPr lang="en-DK"/>
          </a:p>
        </p:txBody>
      </p:sp>
      <p:sp>
        <p:nvSpPr>
          <p:cNvPr id="24" name="Text Placeholder 23">
            <a:extLst>
              <a:ext uri="{FF2B5EF4-FFF2-40B4-BE49-F238E27FC236}">
                <a16:creationId xmlns:a16="http://schemas.microsoft.com/office/drawing/2014/main" id="{90B3AAE2-75A5-134F-805F-06A18734F85A}"/>
              </a:ext>
            </a:extLst>
          </p:cNvPr>
          <p:cNvSpPr>
            <a:spLocks noGrp="1"/>
          </p:cNvSpPr>
          <p:nvPr>
            <p:ph type="body" sz="quarter" idx="37" hasCustomPrompt="1"/>
          </p:nvPr>
        </p:nvSpPr>
        <p:spPr>
          <a:xfrm>
            <a:off x="9383477" y="3321921"/>
            <a:ext cx="2282193" cy="2685640"/>
          </a:xfrm>
        </p:spPr>
        <p:txBody>
          <a:bodyPr/>
          <a:lstStyle>
            <a:lvl1pPr marL="239178" marR="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lvl1pPr>
          </a:lstStyle>
          <a:p>
            <a:pPr marL="179388" indent="-176213">
              <a:lnSpc>
                <a:spcPts val="1760"/>
              </a:lnSpc>
              <a:buFont typeface="Arial" panose="020B0604020202020204" pitchFamily="34" charset="0"/>
              <a:buChar char="•"/>
              <a:tabLst/>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239178" marR="0" lvl="0" indent="-234945" algn="l" defTabSz="609585" rtl="0" eaLnBrk="1" fontAlgn="auto" latinLnBrk="0" hangingPunct="1">
              <a:lnSpc>
                <a:spcPts val="2347"/>
              </a:lnSpc>
              <a:spcBef>
                <a:spcPts val="0"/>
              </a:spcBef>
              <a:spcAft>
                <a:spcPts val="0"/>
              </a:spcAft>
              <a:buClrTx/>
              <a:buSzTx/>
              <a:buFont typeface="Arial" panose="020B0604020202020204" pitchFamily="34" charset="0"/>
              <a:buChar char="•"/>
              <a:tabLst/>
              <a:defRPr/>
            </a:pPr>
            <a:r>
              <a:rPr lang="en-DK" sz="1733"/>
              <a:t>Ad text here</a:t>
            </a:r>
          </a:p>
          <a:p>
            <a:pPr marL="179388" indent="-176213">
              <a:lnSpc>
                <a:spcPts val="1760"/>
              </a:lnSpc>
              <a:buFont typeface="Arial" panose="020B0604020202020204" pitchFamily="34" charset="0"/>
              <a:buChar char="•"/>
              <a:tabLst/>
            </a:pPr>
            <a:endParaRPr lang="en-DK" sz="1733"/>
          </a:p>
        </p:txBody>
      </p:sp>
      <p:sp>
        <p:nvSpPr>
          <p:cNvPr id="2" name="Pladsholder til dato 1">
            <a:extLst>
              <a:ext uri="{FF2B5EF4-FFF2-40B4-BE49-F238E27FC236}">
                <a16:creationId xmlns:a16="http://schemas.microsoft.com/office/drawing/2014/main" id="{86C76846-4A47-4F96-9BAA-982B5D0D3741}"/>
              </a:ext>
            </a:extLst>
          </p:cNvPr>
          <p:cNvSpPr>
            <a:spLocks noGrp="1"/>
          </p:cNvSpPr>
          <p:nvPr>
            <p:ph type="dt" sz="half" idx="38"/>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C4F9628A-E254-4B84-B360-5F221DD677AB}"/>
              </a:ext>
            </a:extLst>
          </p:cNvPr>
          <p:cNvSpPr>
            <a:spLocks noGrp="1"/>
          </p:cNvSpPr>
          <p:nvPr>
            <p:ph type="ftr" sz="quarter" idx="39"/>
          </p:nvPr>
        </p:nvSpPr>
        <p:spPr/>
        <p:txBody>
          <a:bodyPr/>
          <a:lstStyle/>
          <a:p>
            <a:endParaRPr lang="en-US"/>
          </a:p>
        </p:txBody>
      </p:sp>
      <p:sp>
        <p:nvSpPr>
          <p:cNvPr id="4" name="Pladsholder til slidenummer 3">
            <a:extLst>
              <a:ext uri="{FF2B5EF4-FFF2-40B4-BE49-F238E27FC236}">
                <a16:creationId xmlns:a16="http://schemas.microsoft.com/office/drawing/2014/main" id="{94DD8295-5234-4416-BD7D-F75F00CBF8A9}"/>
              </a:ext>
            </a:extLst>
          </p:cNvPr>
          <p:cNvSpPr>
            <a:spLocks noGrp="1"/>
          </p:cNvSpPr>
          <p:nvPr>
            <p:ph type="sldNum" sz="quarter" idx="40"/>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674859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 x boxes">
    <p:spTree>
      <p:nvGrpSpPr>
        <p:cNvPr id="1" name=""/>
        <p:cNvGrpSpPr/>
        <p:nvPr/>
      </p:nvGrpSpPr>
      <p:grpSpPr>
        <a:xfrm>
          <a:off x="0" y="0"/>
          <a:ext cx="0" cy="0"/>
          <a:chOff x="0" y="0"/>
          <a:chExt cx="0" cy="0"/>
        </a:xfrm>
      </p:grpSpPr>
      <p:sp>
        <p:nvSpPr>
          <p:cNvPr id="35" name="Pladsholder til tekst 34">
            <a:extLst>
              <a:ext uri="{FF2B5EF4-FFF2-40B4-BE49-F238E27FC236}">
                <a16:creationId xmlns:a16="http://schemas.microsoft.com/office/drawing/2014/main" id="{BD953F8C-BC52-4C95-8462-14790A2BF7A5}"/>
              </a:ext>
            </a:extLst>
          </p:cNvPr>
          <p:cNvSpPr>
            <a:spLocks noGrp="1"/>
          </p:cNvSpPr>
          <p:nvPr>
            <p:ph type="body" sz="quarter" idx="24" hasCustomPrompt="1"/>
          </p:nvPr>
        </p:nvSpPr>
        <p:spPr>
          <a:xfrm>
            <a:off x="431413" y="2671985"/>
            <a:ext cx="2477871" cy="825600"/>
          </a:xfrm>
          <a:custGeom>
            <a:avLst/>
            <a:gdLst>
              <a:gd name="connsiteX0" fmla="*/ 0 w 1858403"/>
              <a:gd name="connsiteY0" fmla="*/ 0 h 619200"/>
              <a:gd name="connsiteX1" fmla="*/ 1548599 w 1858403"/>
              <a:gd name="connsiteY1" fmla="*/ 0 h 619200"/>
              <a:gd name="connsiteX2" fmla="*/ 1858403 w 1858403"/>
              <a:gd name="connsiteY2" fmla="*/ 309804 h 619200"/>
              <a:gd name="connsiteX3" fmla="*/ 1549007 w 1858403"/>
              <a:gd name="connsiteY3" fmla="*/ 619200 h 619200"/>
              <a:gd name="connsiteX4" fmla="*/ 407 w 1858403"/>
              <a:gd name="connsiteY4" fmla="*/ 619200 h 619200"/>
              <a:gd name="connsiteX5" fmla="*/ 309803 w 1858403"/>
              <a:gd name="connsiteY5" fmla="*/ 309804 h 619200"/>
              <a:gd name="connsiteX6" fmla="*/ 0 w 1858403"/>
              <a:gd name="connsiteY6" fmla="*/ 1 h 6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403" h="619200">
                <a:moveTo>
                  <a:pt x="0" y="0"/>
                </a:moveTo>
                <a:lnTo>
                  <a:pt x="1548599" y="0"/>
                </a:lnTo>
                <a:lnTo>
                  <a:pt x="1858403" y="309804"/>
                </a:lnTo>
                <a:lnTo>
                  <a:pt x="1549007" y="619200"/>
                </a:lnTo>
                <a:lnTo>
                  <a:pt x="407" y="619200"/>
                </a:lnTo>
                <a:lnTo>
                  <a:pt x="309803" y="309804"/>
                </a:lnTo>
                <a:lnTo>
                  <a:pt x="0" y="1"/>
                </a:lnTo>
                <a:close/>
              </a:path>
            </a:pathLst>
          </a:custGeom>
          <a:solidFill>
            <a:srgbClr val="009CA6"/>
          </a:solidFill>
        </p:spPr>
        <p:txBody>
          <a:bodyPr wrap="square" anchor="ctr" anchorCtr="0">
            <a:noAutofit/>
          </a:bodyPr>
          <a:lstStyle>
            <a:lvl1pPr algn="ctr">
              <a:defRPr lang="da-DK" sz="1733" b="1" kern="1200" dirty="0" smtClean="0">
                <a:solidFill>
                  <a:schemeClr val="lt1"/>
                </a:solidFill>
                <a:latin typeface="+mj-lt"/>
                <a:ea typeface="+mn-ea"/>
                <a:cs typeface="+mn-cs"/>
              </a:defRPr>
            </a:lvl1pPr>
            <a:lvl2pPr marL="357707" indent="0" algn="ctr">
              <a:buFontTx/>
              <a:buNone/>
              <a:defRPr lang="da-DK" sz="1333" b="0" kern="1200" dirty="0" smtClean="0">
                <a:solidFill>
                  <a:schemeClr val="lt1"/>
                </a:solidFill>
                <a:latin typeface="+mj-lt"/>
                <a:ea typeface="+mn-ea"/>
                <a:cs typeface="+mn-cs"/>
              </a:defRPr>
            </a:lvl2pPr>
          </a:lstStyle>
          <a:p>
            <a:pPr lvl="0"/>
            <a:r>
              <a:rPr lang="da-DK" err="1"/>
              <a:t>Theme</a:t>
            </a:r>
            <a:endParaRPr lang="da-DK"/>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720000"/>
            <a:ext cx="11539020" cy="496419"/>
          </a:xfrm>
          <a:prstGeom prst="rect">
            <a:avLst/>
          </a:prstGeom>
          <a:noFill/>
        </p:spPr>
        <p:txBody>
          <a:bodyPr wrap="square" rtlCol="0" anchor="t">
            <a:noAutofit/>
          </a:bodyPr>
          <a:lstStyle>
            <a:lvl1pPr>
              <a:defRPr lang="da-DK" sz="3467">
                <a:solidFill>
                  <a:srgbClr val="009CA6"/>
                </a:solidFill>
                <a:latin typeface="+mj-lt"/>
                <a:ea typeface="+mn-ea"/>
                <a:cs typeface="+mn-cs"/>
              </a:defRPr>
            </a:lvl1pPr>
          </a:lstStyle>
          <a:p>
            <a:pPr marL="0" lvl="0" defTabSz="609585"/>
            <a:r>
              <a:rPr lang="en-US" noProof="0"/>
              <a:t>Headline</a:t>
            </a:r>
          </a:p>
        </p:txBody>
      </p:sp>
      <p:sp>
        <p:nvSpPr>
          <p:cNvPr id="36" name="Pladsholder til tekst 35">
            <a:extLst>
              <a:ext uri="{FF2B5EF4-FFF2-40B4-BE49-F238E27FC236}">
                <a16:creationId xmlns:a16="http://schemas.microsoft.com/office/drawing/2014/main" id="{6567F53C-B6C7-4B4C-B4F2-255ED75E8D28}"/>
              </a:ext>
            </a:extLst>
          </p:cNvPr>
          <p:cNvSpPr>
            <a:spLocks noGrp="1"/>
          </p:cNvSpPr>
          <p:nvPr>
            <p:ph type="body" sz="quarter" idx="25" hasCustomPrompt="1"/>
          </p:nvPr>
        </p:nvSpPr>
        <p:spPr>
          <a:xfrm>
            <a:off x="2656950" y="2671985"/>
            <a:ext cx="2477871" cy="825600"/>
          </a:xfrm>
          <a:custGeom>
            <a:avLst/>
            <a:gdLst>
              <a:gd name="connsiteX0" fmla="*/ 0 w 1858403"/>
              <a:gd name="connsiteY0" fmla="*/ 0 h 619200"/>
              <a:gd name="connsiteX1" fmla="*/ 1548599 w 1858403"/>
              <a:gd name="connsiteY1" fmla="*/ 0 h 619200"/>
              <a:gd name="connsiteX2" fmla="*/ 1858403 w 1858403"/>
              <a:gd name="connsiteY2" fmla="*/ 309804 h 619200"/>
              <a:gd name="connsiteX3" fmla="*/ 1549007 w 1858403"/>
              <a:gd name="connsiteY3" fmla="*/ 619200 h 619200"/>
              <a:gd name="connsiteX4" fmla="*/ 407 w 1858403"/>
              <a:gd name="connsiteY4" fmla="*/ 619200 h 619200"/>
              <a:gd name="connsiteX5" fmla="*/ 309803 w 1858403"/>
              <a:gd name="connsiteY5" fmla="*/ 309804 h 619200"/>
              <a:gd name="connsiteX6" fmla="*/ 0 w 1858403"/>
              <a:gd name="connsiteY6" fmla="*/ 1 h 6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403" h="619200">
                <a:moveTo>
                  <a:pt x="0" y="0"/>
                </a:moveTo>
                <a:lnTo>
                  <a:pt x="1548599" y="0"/>
                </a:lnTo>
                <a:lnTo>
                  <a:pt x="1858403" y="309804"/>
                </a:lnTo>
                <a:lnTo>
                  <a:pt x="1549007" y="619200"/>
                </a:lnTo>
                <a:lnTo>
                  <a:pt x="407" y="619200"/>
                </a:lnTo>
                <a:lnTo>
                  <a:pt x="309803" y="309804"/>
                </a:lnTo>
                <a:lnTo>
                  <a:pt x="0" y="1"/>
                </a:lnTo>
                <a:close/>
              </a:path>
            </a:pathLst>
          </a:custGeom>
          <a:solidFill>
            <a:srgbClr val="1AA6AF"/>
          </a:solidFill>
        </p:spPr>
        <p:txBody>
          <a:bodyPr wrap="square" anchor="ctr" anchorCtr="0">
            <a:noAutofit/>
          </a:bodyPr>
          <a:lstStyle>
            <a:lvl1pPr algn="ctr">
              <a:defRPr lang="da-DK" sz="1733" b="1" kern="1200" dirty="0" smtClean="0">
                <a:solidFill>
                  <a:schemeClr val="lt1"/>
                </a:solidFill>
                <a:latin typeface="+mj-lt"/>
                <a:ea typeface="+mn-ea"/>
                <a:cs typeface="+mn-cs"/>
              </a:defRPr>
            </a:lvl1pPr>
            <a:lvl2pPr marL="357707" indent="0" algn="ctr">
              <a:buFontTx/>
              <a:buNone/>
              <a:defRPr lang="da-DK" sz="1333" b="0" kern="1200" dirty="0" smtClean="0">
                <a:solidFill>
                  <a:schemeClr val="lt1"/>
                </a:solidFill>
                <a:latin typeface="+mj-lt"/>
                <a:ea typeface="+mn-ea"/>
                <a:cs typeface="+mn-cs"/>
              </a:defRPr>
            </a:lvl2pPr>
          </a:lstStyle>
          <a:p>
            <a:pPr lvl="0"/>
            <a:r>
              <a:rPr lang="da-DK" err="1"/>
              <a:t>Theme</a:t>
            </a:r>
            <a:endParaRPr lang="da-DK"/>
          </a:p>
        </p:txBody>
      </p:sp>
      <p:sp>
        <p:nvSpPr>
          <p:cNvPr id="37" name="Pladsholder til tekst 36">
            <a:extLst>
              <a:ext uri="{FF2B5EF4-FFF2-40B4-BE49-F238E27FC236}">
                <a16:creationId xmlns:a16="http://schemas.microsoft.com/office/drawing/2014/main" id="{007027D8-ED06-4C3D-86F8-8344ADA2EE6C}"/>
              </a:ext>
            </a:extLst>
          </p:cNvPr>
          <p:cNvSpPr>
            <a:spLocks noGrp="1"/>
          </p:cNvSpPr>
          <p:nvPr>
            <p:ph type="body" sz="quarter" idx="26" hasCustomPrompt="1"/>
          </p:nvPr>
        </p:nvSpPr>
        <p:spPr>
          <a:xfrm>
            <a:off x="4882099" y="2671985"/>
            <a:ext cx="2477871" cy="825600"/>
          </a:xfrm>
          <a:custGeom>
            <a:avLst/>
            <a:gdLst>
              <a:gd name="connsiteX0" fmla="*/ 0 w 1858403"/>
              <a:gd name="connsiteY0" fmla="*/ 0 h 619200"/>
              <a:gd name="connsiteX1" fmla="*/ 1548599 w 1858403"/>
              <a:gd name="connsiteY1" fmla="*/ 0 h 619200"/>
              <a:gd name="connsiteX2" fmla="*/ 1858403 w 1858403"/>
              <a:gd name="connsiteY2" fmla="*/ 309804 h 619200"/>
              <a:gd name="connsiteX3" fmla="*/ 1549007 w 1858403"/>
              <a:gd name="connsiteY3" fmla="*/ 619200 h 619200"/>
              <a:gd name="connsiteX4" fmla="*/ 407 w 1858403"/>
              <a:gd name="connsiteY4" fmla="*/ 619200 h 619200"/>
              <a:gd name="connsiteX5" fmla="*/ 309803 w 1858403"/>
              <a:gd name="connsiteY5" fmla="*/ 309804 h 619200"/>
              <a:gd name="connsiteX6" fmla="*/ 0 w 1858403"/>
              <a:gd name="connsiteY6" fmla="*/ 1 h 6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403" h="619200">
                <a:moveTo>
                  <a:pt x="0" y="0"/>
                </a:moveTo>
                <a:lnTo>
                  <a:pt x="1548599" y="0"/>
                </a:lnTo>
                <a:lnTo>
                  <a:pt x="1858403" y="309804"/>
                </a:lnTo>
                <a:lnTo>
                  <a:pt x="1549007" y="619200"/>
                </a:lnTo>
                <a:lnTo>
                  <a:pt x="407" y="619200"/>
                </a:lnTo>
                <a:lnTo>
                  <a:pt x="309803" y="309804"/>
                </a:lnTo>
                <a:lnTo>
                  <a:pt x="0" y="1"/>
                </a:lnTo>
                <a:close/>
              </a:path>
            </a:pathLst>
          </a:custGeom>
          <a:solidFill>
            <a:srgbClr val="33B0B8"/>
          </a:solidFill>
        </p:spPr>
        <p:txBody>
          <a:bodyPr wrap="square" anchor="ctr" anchorCtr="0">
            <a:noAutofit/>
          </a:bodyPr>
          <a:lstStyle>
            <a:lvl1pPr algn="ctr">
              <a:defRPr lang="da-DK" sz="1733" b="1" kern="1200" dirty="0" smtClean="0">
                <a:solidFill>
                  <a:schemeClr val="lt1"/>
                </a:solidFill>
                <a:latin typeface="+mj-lt"/>
                <a:ea typeface="+mn-ea"/>
                <a:cs typeface="+mn-cs"/>
              </a:defRPr>
            </a:lvl1pPr>
            <a:lvl2pPr marL="357707" indent="0" algn="ctr">
              <a:buFontTx/>
              <a:buNone/>
              <a:defRPr lang="da-DK" sz="1333" b="0" kern="1200" dirty="0" smtClean="0">
                <a:solidFill>
                  <a:schemeClr val="lt1"/>
                </a:solidFill>
                <a:latin typeface="+mj-lt"/>
                <a:ea typeface="+mn-ea"/>
                <a:cs typeface="+mn-cs"/>
              </a:defRPr>
            </a:lvl2pPr>
          </a:lstStyle>
          <a:p>
            <a:pPr lvl="0"/>
            <a:r>
              <a:rPr lang="da-DK" err="1"/>
              <a:t>Theme</a:t>
            </a:r>
            <a:endParaRPr lang="da-DK"/>
          </a:p>
        </p:txBody>
      </p:sp>
      <p:sp>
        <p:nvSpPr>
          <p:cNvPr id="38" name="Pladsholder til tekst 37">
            <a:extLst>
              <a:ext uri="{FF2B5EF4-FFF2-40B4-BE49-F238E27FC236}">
                <a16:creationId xmlns:a16="http://schemas.microsoft.com/office/drawing/2014/main" id="{228534C3-0728-4FC8-AD17-216CE7B45B39}"/>
              </a:ext>
            </a:extLst>
          </p:cNvPr>
          <p:cNvSpPr>
            <a:spLocks noGrp="1"/>
          </p:cNvSpPr>
          <p:nvPr>
            <p:ph type="body" sz="quarter" idx="27" hasCustomPrompt="1"/>
          </p:nvPr>
        </p:nvSpPr>
        <p:spPr>
          <a:xfrm>
            <a:off x="7107248" y="2671985"/>
            <a:ext cx="2477871" cy="825600"/>
          </a:xfrm>
          <a:custGeom>
            <a:avLst/>
            <a:gdLst>
              <a:gd name="connsiteX0" fmla="*/ 0 w 1858403"/>
              <a:gd name="connsiteY0" fmla="*/ 0 h 619200"/>
              <a:gd name="connsiteX1" fmla="*/ 1548599 w 1858403"/>
              <a:gd name="connsiteY1" fmla="*/ 0 h 619200"/>
              <a:gd name="connsiteX2" fmla="*/ 1858403 w 1858403"/>
              <a:gd name="connsiteY2" fmla="*/ 309804 h 619200"/>
              <a:gd name="connsiteX3" fmla="*/ 1549007 w 1858403"/>
              <a:gd name="connsiteY3" fmla="*/ 619200 h 619200"/>
              <a:gd name="connsiteX4" fmla="*/ 407 w 1858403"/>
              <a:gd name="connsiteY4" fmla="*/ 619200 h 619200"/>
              <a:gd name="connsiteX5" fmla="*/ 309803 w 1858403"/>
              <a:gd name="connsiteY5" fmla="*/ 309804 h 619200"/>
              <a:gd name="connsiteX6" fmla="*/ 0 w 1858403"/>
              <a:gd name="connsiteY6" fmla="*/ 1 h 6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403" h="619200">
                <a:moveTo>
                  <a:pt x="0" y="0"/>
                </a:moveTo>
                <a:lnTo>
                  <a:pt x="1548599" y="0"/>
                </a:lnTo>
                <a:lnTo>
                  <a:pt x="1858403" y="309804"/>
                </a:lnTo>
                <a:lnTo>
                  <a:pt x="1549007" y="619200"/>
                </a:lnTo>
                <a:lnTo>
                  <a:pt x="407" y="619200"/>
                </a:lnTo>
                <a:lnTo>
                  <a:pt x="309803" y="309804"/>
                </a:lnTo>
                <a:lnTo>
                  <a:pt x="0" y="1"/>
                </a:lnTo>
                <a:close/>
              </a:path>
            </a:pathLst>
          </a:custGeom>
          <a:solidFill>
            <a:srgbClr val="4DBAC1"/>
          </a:solidFill>
        </p:spPr>
        <p:txBody>
          <a:bodyPr wrap="square" anchor="ctr" anchorCtr="0">
            <a:noAutofit/>
          </a:bodyPr>
          <a:lstStyle>
            <a:lvl1pPr algn="ctr">
              <a:defRPr lang="da-DK" sz="1733" b="1" kern="1200" dirty="0" smtClean="0">
                <a:solidFill>
                  <a:schemeClr val="lt1"/>
                </a:solidFill>
                <a:latin typeface="+mj-lt"/>
                <a:ea typeface="+mn-ea"/>
                <a:cs typeface="+mn-cs"/>
              </a:defRPr>
            </a:lvl1pPr>
            <a:lvl2pPr marL="357707" marR="0" indent="0" algn="ctr" defTabSz="1219170" rtl="0" eaLnBrk="1" fontAlgn="auto" latinLnBrk="0" hangingPunct="1">
              <a:lnSpc>
                <a:spcPct val="130000"/>
              </a:lnSpc>
              <a:spcBef>
                <a:spcPts val="0"/>
              </a:spcBef>
              <a:spcAft>
                <a:spcPts val="0"/>
              </a:spcAft>
              <a:buClrTx/>
              <a:buSzTx/>
              <a:buFontTx/>
              <a:buNone/>
              <a:tabLst/>
              <a:defRPr lang="da-DK" sz="1333" b="0" kern="1200" dirty="0" smtClean="0">
                <a:solidFill>
                  <a:schemeClr val="lt1"/>
                </a:solidFill>
                <a:latin typeface="+mj-lt"/>
                <a:ea typeface="+mn-ea"/>
                <a:cs typeface="+mn-cs"/>
              </a:defRPr>
            </a:lvl2pPr>
          </a:lstStyle>
          <a:p>
            <a:pPr lvl="0"/>
            <a:r>
              <a:rPr lang="da-DK" err="1"/>
              <a:t>Theme</a:t>
            </a:r>
            <a:endParaRPr lang="da-DK"/>
          </a:p>
        </p:txBody>
      </p:sp>
      <p:sp>
        <p:nvSpPr>
          <p:cNvPr id="39" name="Pladsholder til tekst 38">
            <a:extLst>
              <a:ext uri="{FF2B5EF4-FFF2-40B4-BE49-F238E27FC236}">
                <a16:creationId xmlns:a16="http://schemas.microsoft.com/office/drawing/2014/main" id="{C78580A6-1AEA-4A8B-8235-C2D0F553FA2C}"/>
              </a:ext>
            </a:extLst>
          </p:cNvPr>
          <p:cNvSpPr>
            <a:spLocks noGrp="1"/>
          </p:cNvSpPr>
          <p:nvPr>
            <p:ph type="body" sz="quarter" idx="28" hasCustomPrompt="1"/>
          </p:nvPr>
        </p:nvSpPr>
        <p:spPr>
          <a:xfrm>
            <a:off x="9332399" y="2671985"/>
            <a:ext cx="2477871" cy="825600"/>
          </a:xfrm>
          <a:custGeom>
            <a:avLst/>
            <a:gdLst>
              <a:gd name="connsiteX0" fmla="*/ 0 w 1858403"/>
              <a:gd name="connsiteY0" fmla="*/ 0 h 619200"/>
              <a:gd name="connsiteX1" fmla="*/ 1548599 w 1858403"/>
              <a:gd name="connsiteY1" fmla="*/ 0 h 619200"/>
              <a:gd name="connsiteX2" fmla="*/ 1858403 w 1858403"/>
              <a:gd name="connsiteY2" fmla="*/ 309804 h 619200"/>
              <a:gd name="connsiteX3" fmla="*/ 1549007 w 1858403"/>
              <a:gd name="connsiteY3" fmla="*/ 619200 h 619200"/>
              <a:gd name="connsiteX4" fmla="*/ 407 w 1858403"/>
              <a:gd name="connsiteY4" fmla="*/ 619200 h 619200"/>
              <a:gd name="connsiteX5" fmla="*/ 309803 w 1858403"/>
              <a:gd name="connsiteY5" fmla="*/ 309804 h 619200"/>
              <a:gd name="connsiteX6" fmla="*/ 0 w 1858403"/>
              <a:gd name="connsiteY6" fmla="*/ 1 h 6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403" h="619200">
                <a:moveTo>
                  <a:pt x="0" y="0"/>
                </a:moveTo>
                <a:lnTo>
                  <a:pt x="1548599" y="0"/>
                </a:lnTo>
                <a:lnTo>
                  <a:pt x="1858403" y="309804"/>
                </a:lnTo>
                <a:lnTo>
                  <a:pt x="1549007" y="619200"/>
                </a:lnTo>
                <a:lnTo>
                  <a:pt x="407" y="619200"/>
                </a:lnTo>
                <a:lnTo>
                  <a:pt x="309803" y="309804"/>
                </a:lnTo>
                <a:lnTo>
                  <a:pt x="0" y="1"/>
                </a:lnTo>
                <a:close/>
              </a:path>
            </a:pathLst>
          </a:custGeom>
          <a:solidFill>
            <a:srgbClr val="66C4CA"/>
          </a:solidFill>
        </p:spPr>
        <p:txBody>
          <a:bodyPr wrap="square" anchor="ctr" anchorCtr="0">
            <a:noAutofit/>
          </a:bodyPr>
          <a:lstStyle>
            <a:lvl1pPr algn="ctr">
              <a:defRPr lang="da-DK" sz="1733" b="1" kern="1200" dirty="0" smtClean="0">
                <a:solidFill>
                  <a:schemeClr val="lt1"/>
                </a:solidFill>
                <a:latin typeface="+mj-lt"/>
                <a:ea typeface="+mn-ea"/>
                <a:cs typeface="+mn-cs"/>
              </a:defRPr>
            </a:lvl1pPr>
            <a:lvl2pPr marL="357707" indent="0" algn="ctr">
              <a:buFontTx/>
              <a:buNone/>
              <a:defRPr lang="da-DK" sz="1333" b="0" kern="1200" dirty="0" smtClean="0">
                <a:solidFill>
                  <a:schemeClr val="lt1"/>
                </a:solidFill>
                <a:latin typeface="+mj-lt"/>
                <a:ea typeface="+mn-ea"/>
                <a:cs typeface="+mn-cs"/>
              </a:defRPr>
            </a:lvl2pPr>
          </a:lstStyle>
          <a:p>
            <a:pPr lvl="0"/>
            <a:r>
              <a:rPr lang="da-DK" err="1"/>
              <a:t>Theme</a:t>
            </a:r>
            <a:endParaRPr lang="da-DK"/>
          </a:p>
        </p:txBody>
      </p:sp>
      <p:sp>
        <p:nvSpPr>
          <p:cNvPr id="18" name="Pladsholder til tekst 2">
            <a:extLst>
              <a:ext uri="{FF2B5EF4-FFF2-40B4-BE49-F238E27FC236}">
                <a16:creationId xmlns:a16="http://schemas.microsoft.com/office/drawing/2014/main" id="{3AC33686-78C1-49A0-9AFF-494B65C4789C}"/>
              </a:ext>
            </a:extLst>
          </p:cNvPr>
          <p:cNvSpPr>
            <a:spLocks noGrp="1"/>
          </p:cNvSpPr>
          <p:nvPr>
            <p:ph type="body" sz="quarter" idx="29"/>
          </p:nvPr>
        </p:nvSpPr>
        <p:spPr>
          <a:xfrm>
            <a:off x="318546" y="1344000"/>
            <a:ext cx="11554909" cy="495976"/>
          </a:xfrm>
          <a:prstGeom prst="rect">
            <a:avLst/>
          </a:prstGeom>
        </p:spPr>
        <p:txBody>
          <a:bodyPr>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2" name="Pladsholder til tekst 16">
            <a:extLst>
              <a:ext uri="{FF2B5EF4-FFF2-40B4-BE49-F238E27FC236}">
                <a16:creationId xmlns:a16="http://schemas.microsoft.com/office/drawing/2014/main" id="{2E748A6D-4C26-7B43-A555-3671513C9494}"/>
              </a:ext>
            </a:extLst>
          </p:cNvPr>
          <p:cNvSpPr>
            <a:spLocks noGrp="1"/>
          </p:cNvSpPr>
          <p:nvPr>
            <p:ph type="body" sz="quarter" idx="19" hasCustomPrompt="1"/>
          </p:nvPr>
        </p:nvSpPr>
        <p:spPr>
          <a:xfrm>
            <a:off x="431801" y="3708343"/>
            <a:ext cx="2040465" cy="2356277"/>
          </a:xfrm>
          <a:prstGeom prst="roundRect">
            <a:avLst>
              <a:gd name="adj" fmla="val 0"/>
            </a:avLst>
          </a:prstGeom>
          <a:solidFill>
            <a:srgbClr val="EAEBEB"/>
          </a:solidFill>
        </p:spPr>
        <p:txBody>
          <a:bodyPr lIns="115200" tIns="129600">
            <a:noAutofit/>
          </a:bodyPr>
          <a:lstStyle>
            <a:lvl1pPr marL="0" algn="l" defTabSz="609585" rtl="0" eaLnBrk="1" latinLnBrk="0" hangingPunct="1">
              <a:defRPr lang="en-US" sz="1300" b="0" kern="1200" dirty="0" smtClean="0">
                <a:solidFill>
                  <a:schemeClr val="tx1"/>
                </a:solidFill>
                <a:latin typeface="+mj-lt"/>
                <a:ea typeface="+mn-ea"/>
                <a:cs typeface="+mn-cs"/>
              </a:defRPr>
            </a:lvl1pPr>
            <a:lvl2pPr marL="0" algn="l" defTabSz="609585" rtl="0" eaLnBrk="1" latinLnBrk="0" hangingPunct="1">
              <a:defRPr lang="da-DK" sz="1300" kern="1200" dirty="0" smtClean="0">
                <a:solidFill>
                  <a:schemeClr val="tx1"/>
                </a:solidFill>
                <a:latin typeface="+mj-lt"/>
                <a:ea typeface="+mn-ea"/>
                <a:cs typeface="+mn-cs"/>
              </a:defRPr>
            </a:lvl2pPr>
          </a:lstStyle>
          <a:p>
            <a:r>
              <a:rPr lang="en-US" sz="1300">
                <a:latin typeface="+mj-lt"/>
              </a:rPr>
              <a:t>Text can be added here</a:t>
            </a:r>
          </a:p>
        </p:txBody>
      </p:sp>
      <p:sp>
        <p:nvSpPr>
          <p:cNvPr id="23" name="Pladsholder til tekst 16">
            <a:extLst>
              <a:ext uri="{FF2B5EF4-FFF2-40B4-BE49-F238E27FC236}">
                <a16:creationId xmlns:a16="http://schemas.microsoft.com/office/drawing/2014/main" id="{2BDC2B01-E6EE-264E-9202-5F0FEAAE17B1}"/>
              </a:ext>
            </a:extLst>
          </p:cNvPr>
          <p:cNvSpPr>
            <a:spLocks noGrp="1"/>
          </p:cNvSpPr>
          <p:nvPr>
            <p:ph type="body" sz="quarter" idx="20" hasCustomPrompt="1"/>
          </p:nvPr>
        </p:nvSpPr>
        <p:spPr>
          <a:xfrm>
            <a:off x="2656950" y="3701923"/>
            <a:ext cx="2040465" cy="2356277"/>
          </a:xfrm>
          <a:prstGeom prst="roundRect">
            <a:avLst>
              <a:gd name="adj" fmla="val 0"/>
            </a:avLst>
          </a:prstGeom>
          <a:solidFill>
            <a:srgbClr val="EAEBEB"/>
          </a:solidFill>
        </p:spPr>
        <p:txBody>
          <a:bodyPr lIns="115200" tIns="129600">
            <a:noAutofit/>
          </a:bodyPr>
          <a:lstStyle>
            <a:lvl1pPr marL="0" algn="l" defTabSz="609585" rtl="0" eaLnBrk="1" latinLnBrk="0" hangingPunct="1">
              <a:defRPr lang="en-US" sz="1300" b="0" kern="1200" dirty="0" smtClean="0">
                <a:solidFill>
                  <a:schemeClr val="tx1"/>
                </a:solidFill>
                <a:latin typeface="+mj-lt"/>
                <a:ea typeface="+mn-ea"/>
                <a:cs typeface="+mn-cs"/>
              </a:defRPr>
            </a:lvl1pPr>
            <a:lvl2pPr marL="0" algn="l" defTabSz="609585" rtl="0" eaLnBrk="1" latinLnBrk="0" hangingPunct="1">
              <a:defRPr lang="da-DK" sz="1300" kern="1200" dirty="0" smtClean="0">
                <a:solidFill>
                  <a:schemeClr val="tx1"/>
                </a:solidFill>
                <a:latin typeface="+mj-lt"/>
                <a:ea typeface="+mn-ea"/>
                <a:cs typeface="+mn-cs"/>
              </a:defRPr>
            </a:lvl2pPr>
          </a:lstStyle>
          <a:p>
            <a:r>
              <a:rPr lang="en-US" sz="1300">
                <a:latin typeface="+mj-lt"/>
              </a:rPr>
              <a:t>Text can be added here</a:t>
            </a:r>
          </a:p>
        </p:txBody>
      </p:sp>
      <p:sp>
        <p:nvSpPr>
          <p:cNvPr id="24" name="Pladsholder til tekst 16">
            <a:extLst>
              <a:ext uri="{FF2B5EF4-FFF2-40B4-BE49-F238E27FC236}">
                <a16:creationId xmlns:a16="http://schemas.microsoft.com/office/drawing/2014/main" id="{5FF21945-6C30-3446-BCF9-312952711AFC}"/>
              </a:ext>
            </a:extLst>
          </p:cNvPr>
          <p:cNvSpPr>
            <a:spLocks noGrp="1"/>
          </p:cNvSpPr>
          <p:nvPr>
            <p:ph type="body" sz="quarter" idx="21" hasCustomPrompt="1"/>
          </p:nvPr>
        </p:nvSpPr>
        <p:spPr>
          <a:xfrm>
            <a:off x="4882100" y="3695503"/>
            <a:ext cx="2040465" cy="2356277"/>
          </a:xfrm>
          <a:prstGeom prst="roundRect">
            <a:avLst>
              <a:gd name="adj" fmla="val 0"/>
            </a:avLst>
          </a:prstGeom>
          <a:solidFill>
            <a:srgbClr val="EAEBEB"/>
          </a:solidFill>
        </p:spPr>
        <p:txBody>
          <a:bodyPr lIns="115200" tIns="129600">
            <a:noAutofit/>
          </a:bodyPr>
          <a:lstStyle>
            <a:lvl1pPr marL="0" algn="l" defTabSz="609585" rtl="0" eaLnBrk="1" latinLnBrk="0" hangingPunct="1">
              <a:defRPr lang="en-US" sz="1300" b="0" kern="1200" dirty="0" smtClean="0">
                <a:solidFill>
                  <a:schemeClr val="tx1"/>
                </a:solidFill>
                <a:latin typeface="+mj-lt"/>
                <a:ea typeface="+mn-ea"/>
                <a:cs typeface="+mn-cs"/>
              </a:defRPr>
            </a:lvl1pPr>
            <a:lvl2pPr marL="0" algn="l" defTabSz="609585" rtl="0" eaLnBrk="1" latinLnBrk="0" hangingPunct="1">
              <a:defRPr lang="da-DK" sz="1300" kern="1200" dirty="0" smtClean="0">
                <a:solidFill>
                  <a:schemeClr val="tx1"/>
                </a:solidFill>
                <a:latin typeface="+mj-lt"/>
                <a:ea typeface="+mn-ea"/>
                <a:cs typeface="+mn-cs"/>
              </a:defRPr>
            </a:lvl2pPr>
          </a:lstStyle>
          <a:p>
            <a:r>
              <a:rPr lang="en-US" sz="1300">
                <a:latin typeface="+mj-lt"/>
              </a:rPr>
              <a:t>Text can be added here</a:t>
            </a:r>
          </a:p>
        </p:txBody>
      </p:sp>
      <p:sp>
        <p:nvSpPr>
          <p:cNvPr id="25" name="Pladsholder til tekst 16">
            <a:extLst>
              <a:ext uri="{FF2B5EF4-FFF2-40B4-BE49-F238E27FC236}">
                <a16:creationId xmlns:a16="http://schemas.microsoft.com/office/drawing/2014/main" id="{E40E8ECB-EC63-4143-B73E-6F5E8A48C607}"/>
              </a:ext>
            </a:extLst>
          </p:cNvPr>
          <p:cNvSpPr>
            <a:spLocks noGrp="1"/>
          </p:cNvSpPr>
          <p:nvPr>
            <p:ph type="body" sz="quarter" idx="22" hasCustomPrompt="1"/>
          </p:nvPr>
        </p:nvSpPr>
        <p:spPr>
          <a:xfrm>
            <a:off x="7107249" y="3689083"/>
            <a:ext cx="2040465" cy="2356277"/>
          </a:xfrm>
          <a:prstGeom prst="roundRect">
            <a:avLst>
              <a:gd name="adj" fmla="val 0"/>
            </a:avLst>
          </a:prstGeom>
          <a:solidFill>
            <a:srgbClr val="EAEBEB"/>
          </a:solidFill>
        </p:spPr>
        <p:txBody>
          <a:bodyPr lIns="115200" tIns="129600">
            <a:noAutofit/>
          </a:bodyPr>
          <a:lstStyle>
            <a:lvl1pPr marL="0" algn="l" defTabSz="609585" rtl="0" eaLnBrk="1" latinLnBrk="0" hangingPunct="1">
              <a:defRPr lang="en-US" sz="1300" b="0" kern="1200" dirty="0" smtClean="0">
                <a:solidFill>
                  <a:schemeClr val="tx1"/>
                </a:solidFill>
                <a:latin typeface="+mj-lt"/>
                <a:ea typeface="+mn-ea"/>
                <a:cs typeface="+mn-cs"/>
              </a:defRPr>
            </a:lvl1pPr>
            <a:lvl2pPr marL="0" algn="l" defTabSz="609585" rtl="0" eaLnBrk="1" latinLnBrk="0" hangingPunct="1">
              <a:defRPr lang="da-DK" sz="1300" kern="1200" dirty="0" smtClean="0">
                <a:solidFill>
                  <a:schemeClr val="tx1"/>
                </a:solidFill>
                <a:latin typeface="+mj-lt"/>
                <a:ea typeface="+mn-ea"/>
                <a:cs typeface="+mn-cs"/>
              </a:defRPr>
            </a:lvl2pPr>
          </a:lstStyle>
          <a:p>
            <a:r>
              <a:rPr lang="en-US" sz="1300">
                <a:latin typeface="+mj-lt"/>
              </a:rPr>
              <a:t>Text can be added here</a:t>
            </a:r>
          </a:p>
        </p:txBody>
      </p:sp>
      <p:sp>
        <p:nvSpPr>
          <p:cNvPr id="26" name="Pladsholder til tekst 16">
            <a:extLst>
              <a:ext uri="{FF2B5EF4-FFF2-40B4-BE49-F238E27FC236}">
                <a16:creationId xmlns:a16="http://schemas.microsoft.com/office/drawing/2014/main" id="{D315B7C5-A3C7-3648-B050-32B2279EEE32}"/>
              </a:ext>
            </a:extLst>
          </p:cNvPr>
          <p:cNvSpPr>
            <a:spLocks noGrp="1"/>
          </p:cNvSpPr>
          <p:nvPr>
            <p:ph type="body" sz="quarter" idx="23" hasCustomPrompt="1"/>
          </p:nvPr>
        </p:nvSpPr>
        <p:spPr>
          <a:xfrm>
            <a:off x="9332400" y="3682663"/>
            <a:ext cx="2040465" cy="2356277"/>
          </a:xfrm>
          <a:prstGeom prst="roundRect">
            <a:avLst>
              <a:gd name="adj" fmla="val 0"/>
            </a:avLst>
          </a:prstGeom>
          <a:solidFill>
            <a:srgbClr val="EAEBEB"/>
          </a:solidFill>
        </p:spPr>
        <p:txBody>
          <a:bodyPr lIns="115200" tIns="129600">
            <a:noAutofit/>
          </a:bodyPr>
          <a:lstStyle>
            <a:lvl1pPr marL="0" algn="l" defTabSz="609585" rtl="0" eaLnBrk="1" latinLnBrk="0" hangingPunct="1">
              <a:defRPr lang="en-US" sz="1300" b="0" kern="1200" dirty="0" smtClean="0">
                <a:solidFill>
                  <a:schemeClr val="tx1"/>
                </a:solidFill>
                <a:latin typeface="+mj-lt"/>
                <a:ea typeface="+mn-ea"/>
                <a:cs typeface="+mn-cs"/>
              </a:defRPr>
            </a:lvl1pPr>
            <a:lvl2pPr marL="0" algn="l" defTabSz="609585" rtl="0" eaLnBrk="1" latinLnBrk="0" hangingPunct="1">
              <a:defRPr lang="da-DK" sz="1300" kern="1200" dirty="0" smtClean="0">
                <a:solidFill>
                  <a:schemeClr val="tx1"/>
                </a:solidFill>
                <a:latin typeface="+mj-lt"/>
                <a:ea typeface="+mn-ea"/>
                <a:cs typeface="+mn-cs"/>
              </a:defRPr>
            </a:lvl2pPr>
          </a:lstStyle>
          <a:p>
            <a:r>
              <a:rPr lang="en-US" sz="1300">
                <a:latin typeface="+mj-lt"/>
              </a:rPr>
              <a:t>Text can be added here</a:t>
            </a:r>
          </a:p>
        </p:txBody>
      </p:sp>
      <p:sp>
        <p:nvSpPr>
          <p:cNvPr id="2" name="Pladsholder til dato 1">
            <a:extLst>
              <a:ext uri="{FF2B5EF4-FFF2-40B4-BE49-F238E27FC236}">
                <a16:creationId xmlns:a16="http://schemas.microsoft.com/office/drawing/2014/main" id="{3CAB1014-159D-413B-91FA-A4659CA35A64}"/>
              </a:ext>
            </a:extLst>
          </p:cNvPr>
          <p:cNvSpPr>
            <a:spLocks noGrp="1"/>
          </p:cNvSpPr>
          <p:nvPr>
            <p:ph type="dt" sz="half" idx="30"/>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B9D7C352-5F4E-43F1-A9EF-07BA585FAAD0}"/>
              </a:ext>
            </a:extLst>
          </p:cNvPr>
          <p:cNvSpPr>
            <a:spLocks noGrp="1"/>
          </p:cNvSpPr>
          <p:nvPr>
            <p:ph type="ftr" sz="quarter" idx="31"/>
          </p:nvPr>
        </p:nvSpPr>
        <p:spPr/>
        <p:txBody>
          <a:bodyPr/>
          <a:lstStyle/>
          <a:p>
            <a:endParaRPr lang="en-US"/>
          </a:p>
        </p:txBody>
      </p:sp>
      <p:sp>
        <p:nvSpPr>
          <p:cNvPr id="4" name="Pladsholder til slidenummer 3">
            <a:extLst>
              <a:ext uri="{FF2B5EF4-FFF2-40B4-BE49-F238E27FC236}">
                <a16:creationId xmlns:a16="http://schemas.microsoft.com/office/drawing/2014/main" id="{AEB433BB-15E9-4A31-A2DE-A0C8EE4B4FCA}"/>
              </a:ext>
            </a:extLst>
          </p:cNvPr>
          <p:cNvSpPr>
            <a:spLocks noGrp="1"/>
          </p:cNvSpPr>
          <p:nvPr>
            <p:ph type="sldNum" sz="quarter" idx="32"/>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2066165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ck cover plain">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A5BE537D-BCDB-4442-9DE4-E1065292E1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205" y="4068754"/>
            <a:ext cx="14523403" cy="45719"/>
          </a:xfrm>
          <a:prstGeom prst="rect">
            <a:avLst/>
          </a:prstGeom>
        </p:spPr>
      </p:pic>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7" y="3484505"/>
            <a:ext cx="5259931" cy="496419"/>
          </a:xfrm>
          <a:prstGeom prst="rect">
            <a:avLst/>
          </a:prstGeom>
          <a:noFill/>
        </p:spPr>
        <p:txBody>
          <a:bodyPr wrap="square" rtlCol="0" anchor="t">
            <a:noAutofit/>
          </a:bodyPr>
          <a:lstStyle>
            <a:lvl1pPr marL="0" algn="l" defTabSz="609585" rtl="0" eaLnBrk="1" latinLnBrk="0" hangingPunct="1">
              <a:defRPr lang="da-DK" sz="3467" kern="1200" dirty="0" smtClean="0">
                <a:solidFill>
                  <a:srgbClr val="009CA6"/>
                </a:solidFill>
                <a:latin typeface="+mj-lt"/>
                <a:ea typeface="+mn-ea"/>
                <a:cs typeface="+mn-cs"/>
              </a:defRPr>
            </a:lvl1pPr>
          </a:lstStyle>
          <a:p>
            <a:pPr marL="0" lvl="0" defTabSz="609585"/>
            <a:r>
              <a:rPr lang="en-US" noProof="0"/>
              <a:t>Thank you for listening</a:t>
            </a:r>
          </a:p>
        </p:txBody>
      </p:sp>
      <p:sp>
        <p:nvSpPr>
          <p:cNvPr id="11" name="Pladsholder til tekst 16">
            <a:extLst>
              <a:ext uri="{FF2B5EF4-FFF2-40B4-BE49-F238E27FC236}">
                <a16:creationId xmlns:a16="http://schemas.microsoft.com/office/drawing/2014/main" id="{9537732D-1587-424B-A302-1DCEF3DD78AD}"/>
              </a:ext>
            </a:extLst>
          </p:cNvPr>
          <p:cNvSpPr>
            <a:spLocks noGrp="1"/>
          </p:cNvSpPr>
          <p:nvPr>
            <p:ph type="body" sz="quarter" idx="14" hasCustomPrompt="1"/>
          </p:nvPr>
        </p:nvSpPr>
        <p:spPr>
          <a:xfrm>
            <a:off x="1483780" y="4742923"/>
            <a:ext cx="5259931" cy="1360247"/>
          </a:xfrm>
          <a:prstGeom prst="rect">
            <a:avLst/>
          </a:prstGeom>
        </p:spPr>
        <p:txBody>
          <a:bodyPr>
            <a:noAutofit/>
          </a:bodyPr>
          <a:lstStyle>
            <a:lvl1pPr marL="0" indent="0" algn="l" defTabSz="609585" rtl="0" eaLnBrk="1" latinLnBrk="0" hangingPunct="1">
              <a:buFontTx/>
              <a:buNone/>
              <a:defRPr lang="en-US" sz="1333" b="0" kern="1200" dirty="0" smtClean="0">
                <a:solidFill>
                  <a:schemeClr val="tx1"/>
                </a:solidFill>
                <a:latin typeface="+mj-lt"/>
                <a:ea typeface="+mn-ea"/>
                <a:cs typeface="+mn-cs"/>
              </a:defRPr>
            </a:lvl1pPr>
            <a:lvl2pPr marL="0" algn="l" defTabSz="609585" rtl="0" eaLnBrk="1" latinLnBrk="0" hangingPunct="1">
              <a:defRPr lang="da-DK" sz="1333" kern="1200" dirty="0" smtClean="0">
                <a:solidFill>
                  <a:schemeClr val="bg1"/>
                </a:solidFill>
                <a:latin typeface="+mj-lt"/>
                <a:ea typeface="+mn-ea"/>
                <a:cs typeface="+mn-cs"/>
              </a:defRPr>
            </a:lvl2pPr>
            <a:lvl3pPr marL="0" algn="l" defTabSz="609585" rtl="0" eaLnBrk="1" latinLnBrk="0" hangingPunct="1">
              <a:defRPr lang="da-DK" sz="1333" kern="1200" dirty="0" smtClean="0">
                <a:solidFill>
                  <a:schemeClr val="bg1"/>
                </a:solidFill>
                <a:latin typeface="+mj-lt"/>
                <a:ea typeface="+mn-ea"/>
                <a:cs typeface="+mn-cs"/>
              </a:defRPr>
            </a:lvl3pPr>
            <a:lvl4pPr marL="0" algn="l" defTabSz="609585" rtl="0" eaLnBrk="1" latinLnBrk="0" hangingPunct="1">
              <a:defRPr lang="da-DK" sz="1333" kern="1200" dirty="0" smtClean="0">
                <a:solidFill>
                  <a:schemeClr val="bg1"/>
                </a:solidFill>
                <a:latin typeface="+mj-lt"/>
                <a:ea typeface="+mn-ea"/>
                <a:cs typeface="+mn-cs"/>
              </a:defRPr>
            </a:lvl4pPr>
            <a:lvl5pPr marL="0" algn="l" defTabSz="609585" rtl="0" eaLnBrk="1" latinLnBrk="0" hangingPunct="1">
              <a:defRPr lang="da-DK" sz="1333" kern="1200" dirty="0">
                <a:solidFill>
                  <a:schemeClr val="bg1"/>
                </a:solidFill>
                <a:latin typeface="+mj-lt"/>
                <a:ea typeface="+mn-ea"/>
                <a:cs typeface="+mn-cs"/>
              </a:defRPr>
            </a:lvl5pPr>
          </a:lstStyle>
          <a:p>
            <a:pPr lvl="0"/>
            <a:r>
              <a:rPr lang="en-US"/>
              <a:t>Name and last name</a:t>
            </a:r>
          </a:p>
          <a:p>
            <a:pPr lvl="0"/>
            <a:r>
              <a:rPr lang="en-US"/>
              <a:t>Title</a:t>
            </a:r>
          </a:p>
          <a:p>
            <a:pPr lvl="0"/>
            <a:r>
              <a:rPr lang="en-US"/>
              <a:t>Phone</a:t>
            </a:r>
          </a:p>
          <a:p>
            <a:pPr lvl="0"/>
            <a:r>
              <a:rPr lang="en-US"/>
              <a:t>Mail</a:t>
            </a:r>
          </a:p>
          <a:p>
            <a:pPr lvl="0"/>
            <a:r>
              <a:rPr lang="en-US" err="1"/>
              <a:t>Kamstrup</a:t>
            </a:r>
            <a:r>
              <a:rPr lang="en-US"/>
              <a:t> A/S</a:t>
            </a:r>
          </a:p>
        </p:txBody>
      </p:sp>
      <p:sp>
        <p:nvSpPr>
          <p:cNvPr id="13" name="Pladsholder til billede 2">
            <a:extLst>
              <a:ext uri="{FF2B5EF4-FFF2-40B4-BE49-F238E27FC236}">
                <a16:creationId xmlns:a16="http://schemas.microsoft.com/office/drawing/2014/main" id="{9B0D9CB7-59FE-49F8-A31D-1109F711F9F5}"/>
              </a:ext>
            </a:extLst>
          </p:cNvPr>
          <p:cNvSpPr>
            <a:spLocks noGrp="1"/>
          </p:cNvSpPr>
          <p:nvPr>
            <p:ph type="pic" sz="quarter" idx="13" hasCustomPrompt="1"/>
          </p:nvPr>
        </p:nvSpPr>
        <p:spPr>
          <a:xfrm>
            <a:off x="460206" y="4836573"/>
            <a:ext cx="920161" cy="1084215"/>
          </a:xfrm>
          <a:prstGeom prst="rect">
            <a:avLst/>
          </a:prstGeom>
          <a:solidFill>
            <a:srgbClr val="A6A6A6"/>
          </a:solidFill>
        </p:spPr>
        <p:txBody>
          <a:bodyPr>
            <a:normAutofit/>
          </a:bodyPr>
          <a:lstStyle>
            <a:lvl1pPr marL="0" indent="0">
              <a:buFontTx/>
              <a:buNone/>
              <a:defRPr sz="1600" b="0" i="1">
                <a:solidFill>
                  <a:schemeClr val="bg1"/>
                </a:solidFill>
              </a:defRPr>
            </a:lvl1pPr>
          </a:lstStyle>
          <a:p>
            <a:r>
              <a:rPr lang="da-DK"/>
              <a:t>Image</a:t>
            </a:r>
          </a:p>
        </p:txBody>
      </p:sp>
      <p:sp>
        <p:nvSpPr>
          <p:cNvPr id="2" name="Pladsholder til dato 1">
            <a:extLst>
              <a:ext uri="{FF2B5EF4-FFF2-40B4-BE49-F238E27FC236}">
                <a16:creationId xmlns:a16="http://schemas.microsoft.com/office/drawing/2014/main" id="{79C65192-2C0C-4034-80B0-257ECF5207D7}"/>
              </a:ext>
            </a:extLst>
          </p:cNvPr>
          <p:cNvSpPr>
            <a:spLocks noGrp="1"/>
          </p:cNvSpPr>
          <p:nvPr>
            <p:ph type="dt" sz="half" idx="15"/>
          </p:nvPr>
        </p:nvSpPr>
        <p:spPr/>
        <p:txBody>
          <a:body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5BC94BC5-F225-40EC-A1CE-DBBA30F4EE2C}"/>
              </a:ext>
            </a:extLst>
          </p:cNvPr>
          <p:cNvSpPr>
            <a:spLocks noGrp="1"/>
          </p:cNvSpPr>
          <p:nvPr>
            <p:ph type="ftr" sz="quarter" idx="16"/>
          </p:nvPr>
        </p:nvSpPr>
        <p:spPr/>
        <p:txBody>
          <a:bodyPr/>
          <a:lstStyle/>
          <a:p>
            <a:endParaRPr lang="en-US"/>
          </a:p>
        </p:txBody>
      </p:sp>
      <p:sp>
        <p:nvSpPr>
          <p:cNvPr id="4" name="Pladsholder til slidenummer 3">
            <a:extLst>
              <a:ext uri="{FF2B5EF4-FFF2-40B4-BE49-F238E27FC236}">
                <a16:creationId xmlns:a16="http://schemas.microsoft.com/office/drawing/2014/main" id="{049906B8-6B39-41E6-8DB8-47E2685B829A}"/>
              </a:ext>
            </a:extLst>
          </p:cNvPr>
          <p:cNvSpPr>
            <a:spLocks noGrp="1"/>
          </p:cNvSpPr>
          <p:nvPr>
            <p:ph type="sldNum" sz="quarter" idx="17"/>
          </p:nvPr>
        </p:nvSpPr>
        <p:spPr/>
        <p:txBody>
          <a:bodyPr/>
          <a:lstStyle/>
          <a:p>
            <a:fld id="{24E63CB2-98B0-49EC-843D-EA0792C8B4C9}" type="slidenum">
              <a:rPr lang="en-US" smtClean="0"/>
              <a:pPr/>
              <a:t>‹#›</a:t>
            </a:fld>
            <a:endParaRPr lang="en-US"/>
          </a:p>
        </p:txBody>
      </p:sp>
    </p:spTree>
    <p:extLst>
      <p:ext uri="{BB962C8B-B14F-4D97-AF65-F5344CB8AC3E}">
        <p14:creationId xmlns:p14="http://schemas.microsoft.com/office/powerpoint/2010/main" val="1442210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right)">
                                      <p:cBhvr>
                                        <p:cTn id="7"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ck cover teal">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C1AB00F1-655E-469D-AC4C-0406C0F67BBF}"/>
              </a:ext>
            </a:extLst>
          </p:cNvPr>
          <p:cNvSpPr/>
          <p:nvPr userDrawn="1"/>
        </p:nvSpPr>
        <p:spPr>
          <a:xfrm>
            <a:off x="2" y="1095376"/>
            <a:ext cx="12191999" cy="5762625"/>
          </a:xfrm>
          <a:prstGeom prst="rect">
            <a:avLst/>
          </a:prstGeom>
          <a:solidFill>
            <a:srgbClr val="009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Graphic 11">
            <a:extLst>
              <a:ext uri="{FF2B5EF4-FFF2-40B4-BE49-F238E27FC236}">
                <a16:creationId xmlns:a16="http://schemas.microsoft.com/office/drawing/2014/main" id="{DE5344B7-4D05-47CB-914E-142D498FA7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8940" y="4059518"/>
            <a:ext cx="14523403" cy="45719"/>
          </a:xfrm>
          <a:prstGeom prst="rect">
            <a:avLst/>
          </a:prstGeom>
        </p:spPr>
      </p:pic>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7" y="3484505"/>
            <a:ext cx="5259931" cy="496419"/>
          </a:xfrm>
          <a:prstGeom prst="rect">
            <a:avLst/>
          </a:prstGeom>
          <a:noFill/>
        </p:spPr>
        <p:txBody>
          <a:bodyPr wrap="square" rtlCol="0" anchor="t">
            <a:noAutofit/>
          </a:bodyPr>
          <a:lstStyle>
            <a:lvl1pPr marL="0" algn="l" defTabSz="609585" rtl="0" eaLnBrk="1" latinLnBrk="0" hangingPunct="1">
              <a:defRPr lang="da-DK" sz="3467" kern="1200" dirty="0" smtClean="0">
                <a:solidFill>
                  <a:schemeClr val="bg1"/>
                </a:solidFill>
                <a:latin typeface="+mj-lt"/>
                <a:ea typeface="+mn-ea"/>
                <a:cs typeface="+mn-cs"/>
              </a:defRPr>
            </a:lvl1pPr>
          </a:lstStyle>
          <a:p>
            <a:pPr marL="0" lvl="0" defTabSz="609585"/>
            <a:r>
              <a:rPr lang="da-DK" err="1"/>
              <a:t>Thank</a:t>
            </a:r>
            <a:r>
              <a:rPr lang="da-DK"/>
              <a:t> </a:t>
            </a:r>
            <a:r>
              <a:rPr lang="da-DK" err="1"/>
              <a:t>you</a:t>
            </a:r>
            <a:r>
              <a:rPr lang="da-DK"/>
              <a:t> for </a:t>
            </a:r>
            <a:r>
              <a:rPr lang="da-DK" err="1"/>
              <a:t>listening</a:t>
            </a:r>
            <a:endParaRPr lang="da-DK"/>
          </a:p>
        </p:txBody>
      </p:sp>
      <p:sp>
        <p:nvSpPr>
          <p:cNvPr id="12" name="Pladsholder til tekst 16">
            <a:extLst>
              <a:ext uri="{FF2B5EF4-FFF2-40B4-BE49-F238E27FC236}">
                <a16:creationId xmlns:a16="http://schemas.microsoft.com/office/drawing/2014/main" id="{FBBD9D14-CEB6-4A31-8A69-5024033E1A2D}"/>
              </a:ext>
            </a:extLst>
          </p:cNvPr>
          <p:cNvSpPr>
            <a:spLocks noGrp="1"/>
          </p:cNvSpPr>
          <p:nvPr>
            <p:ph type="body" sz="quarter" idx="14" hasCustomPrompt="1"/>
          </p:nvPr>
        </p:nvSpPr>
        <p:spPr>
          <a:xfrm>
            <a:off x="1483780" y="4742923"/>
            <a:ext cx="5259931" cy="1360247"/>
          </a:xfrm>
          <a:prstGeom prst="rect">
            <a:avLst/>
          </a:prstGeom>
        </p:spPr>
        <p:txBody>
          <a:bodyPr>
            <a:noAutofit/>
          </a:bodyPr>
          <a:lstStyle>
            <a:lvl1pPr marL="0" algn="l" defTabSz="609585" rtl="0" eaLnBrk="1" latinLnBrk="0" hangingPunct="1">
              <a:defRPr lang="en-US" sz="1333" b="0" kern="1200" dirty="0" smtClean="0">
                <a:solidFill>
                  <a:schemeClr val="bg1"/>
                </a:solidFill>
                <a:latin typeface="+mj-lt"/>
                <a:ea typeface="+mn-ea"/>
                <a:cs typeface="+mn-cs"/>
              </a:defRPr>
            </a:lvl1pPr>
            <a:lvl2pPr marL="0" algn="l" defTabSz="609585" rtl="0" eaLnBrk="1" latinLnBrk="0" hangingPunct="1">
              <a:defRPr lang="da-DK" sz="1333" kern="1200" dirty="0" smtClean="0">
                <a:solidFill>
                  <a:schemeClr val="bg1"/>
                </a:solidFill>
                <a:latin typeface="+mj-lt"/>
                <a:ea typeface="+mn-ea"/>
                <a:cs typeface="+mn-cs"/>
              </a:defRPr>
            </a:lvl2pPr>
            <a:lvl3pPr marL="0" algn="l" defTabSz="609585" rtl="0" eaLnBrk="1" latinLnBrk="0" hangingPunct="1">
              <a:defRPr lang="da-DK" sz="1333" kern="1200" dirty="0" smtClean="0">
                <a:solidFill>
                  <a:schemeClr val="bg1"/>
                </a:solidFill>
                <a:latin typeface="+mj-lt"/>
                <a:ea typeface="+mn-ea"/>
                <a:cs typeface="+mn-cs"/>
              </a:defRPr>
            </a:lvl3pPr>
            <a:lvl4pPr marL="0" algn="l" defTabSz="609585" rtl="0" eaLnBrk="1" latinLnBrk="0" hangingPunct="1">
              <a:defRPr lang="da-DK" sz="1333" kern="1200" dirty="0" smtClean="0">
                <a:solidFill>
                  <a:schemeClr val="bg1"/>
                </a:solidFill>
                <a:latin typeface="+mj-lt"/>
                <a:ea typeface="+mn-ea"/>
                <a:cs typeface="+mn-cs"/>
              </a:defRPr>
            </a:lvl4pPr>
            <a:lvl5pPr marL="0" algn="l" defTabSz="609585" rtl="0" eaLnBrk="1" latinLnBrk="0" hangingPunct="1">
              <a:defRPr lang="da-DK" sz="1333" kern="1200" dirty="0">
                <a:solidFill>
                  <a:schemeClr val="bg1"/>
                </a:solidFill>
                <a:latin typeface="+mj-lt"/>
                <a:ea typeface="+mn-ea"/>
                <a:cs typeface="+mn-cs"/>
              </a:defRPr>
            </a:lvl5pPr>
          </a:lstStyle>
          <a:p>
            <a:pPr lvl="0"/>
            <a:r>
              <a:rPr lang="en-US"/>
              <a:t>Name and last name</a:t>
            </a:r>
          </a:p>
          <a:p>
            <a:pPr lvl="0"/>
            <a:r>
              <a:rPr lang="en-US"/>
              <a:t>Title</a:t>
            </a:r>
          </a:p>
          <a:p>
            <a:pPr lvl="0"/>
            <a:r>
              <a:rPr lang="en-US"/>
              <a:t>Phone</a:t>
            </a:r>
          </a:p>
          <a:p>
            <a:pPr lvl="0"/>
            <a:r>
              <a:rPr lang="en-US"/>
              <a:t>Mail</a:t>
            </a:r>
          </a:p>
          <a:p>
            <a:pPr lvl="0"/>
            <a:r>
              <a:rPr lang="en-US" err="1"/>
              <a:t>Kamstrup</a:t>
            </a:r>
            <a:r>
              <a:rPr lang="en-US"/>
              <a:t> A/S</a:t>
            </a:r>
          </a:p>
        </p:txBody>
      </p:sp>
      <p:sp>
        <p:nvSpPr>
          <p:cNvPr id="13" name="Pladsholder til billede 2">
            <a:extLst>
              <a:ext uri="{FF2B5EF4-FFF2-40B4-BE49-F238E27FC236}">
                <a16:creationId xmlns:a16="http://schemas.microsoft.com/office/drawing/2014/main" id="{2B811EE3-BC7D-4C01-852D-5CB63F5ADED3}"/>
              </a:ext>
            </a:extLst>
          </p:cNvPr>
          <p:cNvSpPr>
            <a:spLocks noGrp="1"/>
          </p:cNvSpPr>
          <p:nvPr>
            <p:ph type="pic" sz="quarter" idx="13" hasCustomPrompt="1"/>
          </p:nvPr>
        </p:nvSpPr>
        <p:spPr>
          <a:xfrm>
            <a:off x="460206" y="4836573"/>
            <a:ext cx="920161" cy="1084215"/>
          </a:xfrm>
          <a:prstGeom prst="rect">
            <a:avLst/>
          </a:prstGeom>
          <a:solidFill>
            <a:srgbClr val="A6A6A6"/>
          </a:solidFill>
        </p:spPr>
        <p:txBody>
          <a:bodyPr/>
          <a:lstStyle>
            <a:lvl1pPr>
              <a:defRPr b="0" i="1">
                <a:solidFill>
                  <a:schemeClr val="bg1"/>
                </a:solidFill>
              </a:defRPr>
            </a:lvl1pPr>
          </a:lstStyle>
          <a:p>
            <a:r>
              <a:rPr lang="da-DK"/>
              <a:t>Image</a:t>
            </a:r>
          </a:p>
        </p:txBody>
      </p:sp>
      <p:sp>
        <p:nvSpPr>
          <p:cNvPr id="2" name="Pladsholder til dato 1">
            <a:extLst>
              <a:ext uri="{FF2B5EF4-FFF2-40B4-BE49-F238E27FC236}">
                <a16:creationId xmlns:a16="http://schemas.microsoft.com/office/drawing/2014/main" id="{A4EA9841-D39E-4EBE-BF9A-FF34DC46E591}"/>
              </a:ext>
            </a:extLst>
          </p:cNvPr>
          <p:cNvSpPr>
            <a:spLocks noGrp="1"/>
          </p:cNvSpPr>
          <p:nvPr>
            <p:ph type="dt" sz="half" idx="15"/>
          </p:nvPr>
        </p:nvSpPr>
        <p:spPr/>
        <p:txBody>
          <a:bodyPr/>
          <a:lstStyle>
            <a:lvl1pPr>
              <a:defRPr>
                <a:solidFill>
                  <a:schemeClr val="bg1"/>
                </a:solidFill>
              </a:defRPr>
            </a:lvl1pPr>
          </a:lstStyle>
          <a:p>
            <a:pPr algn="r"/>
            <a:fld id="{3773308A-2C49-49AA-B7E5-A2C551993136}" type="datetimeFigureOut">
              <a:rPr lang="en-US" smtClean="0"/>
              <a:pPr algn="r"/>
              <a:t>4/18/2024</a:t>
            </a:fld>
            <a:endParaRPr lang="en-US"/>
          </a:p>
        </p:txBody>
      </p:sp>
      <p:sp>
        <p:nvSpPr>
          <p:cNvPr id="3" name="Pladsholder til sidefod 2">
            <a:extLst>
              <a:ext uri="{FF2B5EF4-FFF2-40B4-BE49-F238E27FC236}">
                <a16:creationId xmlns:a16="http://schemas.microsoft.com/office/drawing/2014/main" id="{900E0188-6411-4E24-B2B5-9D7BEE9553D4}"/>
              </a:ext>
            </a:extLst>
          </p:cNvPr>
          <p:cNvSpPr>
            <a:spLocks noGrp="1"/>
          </p:cNvSpPr>
          <p:nvPr>
            <p:ph type="ftr" sz="quarter" idx="16"/>
          </p:nvPr>
        </p:nvSpPr>
        <p:spPr/>
        <p:txBody>
          <a:bodyPr/>
          <a:lstStyle>
            <a:lvl1pPr>
              <a:defRPr>
                <a:solidFill>
                  <a:schemeClr val="bg1"/>
                </a:solidFill>
              </a:defRPr>
            </a:lvl1pPr>
          </a:lstStyle>
          <a:p>
            <a:endParaRPr lang="en-US"/>
          </a:p>
        </p:txBody>
      </p:sp>
      <p:sp>
        <p:nvSpPr>
          <p:cNvPr id="4" name="Pladsholder til slidenummer 3">
            <a:extLst>
              <a:ext uri="{FF2B5EF4-FFF2-40B4-BE49-F238E27FC236}">
                <a16:creationId xmlns:a16="http://schemas.microsoft.com/office/drawing/2014/main" id="{FA1463B8-06B0-4238-B8F5-3A5F7012A5DF}"/>
              </a:ext>
            </a:extLst>
          </p:cNvPr>
          <p:cNvSpPr>
            <a:spLocks noGrp="1"/>
          </p:cNvSpPr>
          <p:nvPr>
            <p:ph type="sldNum" sz="quarter" idx="17"/>
          </p:nvPr>
        </p:nvSpPr>
        <p:spPr/>
        <p:txBody>
          <a:bodyPr/>
          <a:lstStyle>
            <a:lvl1pPr>
              <a:defRPr>
                <a:solidFill>
                  <a:schemeClr val="bg1"/>
                </a:solidFill>
              </a:defRPr>
            </a:lvl1pPr>
          </a:lstStyle>
          <a:p>
            <a:fld id="{24E63CB2-98B0-49EC-843D-EA0792C8B4C9}" type="slidenum">
              <a:rPr lang="en-US" smtClean="0"/>
              <a:pPr/>
              <a:t>‹#›</a:t>
            </a:fld>
            <a:endParaRPr lang="en-US"/>
          </a:p>
        </p:txBody>
      </p:sp>
    </p:spTree>
    <p:extLst>
      <p:ext uri="{BB962C8B-B14F-4D97-AF65-F5344CB8AC3E}">
        <p14:creationId xmlns:p14="http://schemas.microsoft.com/office/powerpoint/2010/main" val="1510136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Left arrow">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9677401" y="6405037"/>
            <a:ext cx="1482051" cy="276999"/>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8702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1_ only Text">
    <p:spTree>
      <p:nvGrpSpPr>
        <p:cNvPr id="1" name=""/>
        <p:cNvGrpSpPr/>
        <p:nvPr/>
      </p:nvGrpSpPr>
      <p:grpSpPr>
        <a:xfrm>
          <a:off x="0" y="0"/>
          <a:ext cx="0" cy="0"/>
          <a:chOff x="0" y="0"/>
          <a:chExt cx="0" cy="0"/>
        </a:xfrm>
      </p:grpSpPr>
      <p:sp>
        <p:nvSpPr>
          <p:cNvPr id="3" name="Text Placeholder 2"/>
          <p:cNvSpPr>
            <a:spLocks noGrp="1"/>
          </p:cNvSpPr>
          <p:nvPr>
            <p:ph type="body" sz="quarter" idx="11" hasCustomPrompt="1"/>
          </p:nvPr>
        </p:nvSpPr>
        <p:spPr>
          <a:xfrm>
            <a:off x="1371600" y="1219200"/>
            <a:ext cx="9791700" cy="4838700"/>
          </a:xfrm>
          <a:prstGeom prst="rect">
            <a:avLst/>
          </a:prstGeom>
        </p:spPr>
        <p:txBody>
          <a:bodyPr tIns="0" bIns="0"/>
          <a:lstStyle>
            <a:lvl1pPr marL="0" indent="0">
              <a:lnSpc>
                <a:spcPct val="150000"/>
              </a:lnSpc>
              <a:spcBef>
                <a:spcPts val="0"/>
              </a:spcBef>
              <a:buNone/>
              <a:defRPr sz="24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p:txBody>
      </p:sp>
      <p:sp>
        <p:nvSpPr>
          <p:cNvPr id="5" name="Text Placeholder 10">
            <a:extLst>
              <a:ext uri="{FF2B5EF4-FFF2-40B4-BE49-F238E27FC236}">
                <a16:creationId xmlns:a16="http://schemas.microsoft.com/office/drawing/2014/main" id="{1FEEDBD1-D8B4-4F07-AEFA-3740F5131BA3}"/>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3697379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ext-Graphic">
    <p:spTree>
      <p:nvGrpSpPr>
        <p:cNvPr id="1" name=""/>
        <p:cNvGrpSpPr/>
        <p:nvPr/>
      </p:nvGrpSpPr>
      <p:grpSpPr>
        <a:xfrm>
          <a:off x="0" y="0"/>
          <a:ext cx="0" cy="0"/>
          <a:chOff x="0" y="0"/>
          <a:chExt cx="0" cy="0"/>
        </a:xfrm>
      </p:grpSpPr>
      <p:sp>
        <p:nvSpPr>
          <p:cNvPr id="8" name="Rounded Rectangle 7"/>
          <p:cNvSpPr/>
          <p:nvPr userDrawn="1"/>
        </p:nvSpPr>
        <p:spPr>
          <a:xfrm>
            <a:off x="520185" y="1944585"/>
            <a:ext cx="3213100" cy="512323"/>
          </a:xfrm>
          <a:prstGeom prst="roundRect">
            <a:avLst>
              <a:gd name="adj" fmla="val 1177"/>
            </a:avLst>
          </a:prstGeom>
          <a:solidFill>
            <a:schemeClr val="bg1"/>
          </a:solidFill>
          <a:ln w="76200" cmpd="sng">
            <a:noFill/>
          </a:ln>
          <a:effectLst/>
        </p:spPr>
        <p:style>
          <a:lnRef idx="1">
            <a:schemeClr val="accent1"/>
          </a:lnRef>
          <a:fillRef idx="3">
            <a:schemeClr val="accent1"/>
          </a:fillRef>
          <a:effectRef idx="2">
            <a:schemeClr val="accent1"/>
          </a:effectRef>
          <a:fontRef idx="minor">
            <a:schemeClr val="lt1"/>
          </a:fontRef>
        </p:style>
        <p:txBody>
          <a:bodyPr lIns="252000" tIns="180000" rIns="180000" bIns="0" rtlCol="0" anchor="t" anchorCtr="0"/>
          <a:lstStyle/>
          <a:p>
            <a:pPr algn="l">
              <a:lnSpc>
                <a:spcPct val="85000"/>
              </a:lnSpc>
            </a:pPr>
            <a:endParaRPr lang="en-GB" sz="3800" b="0" i="0">
              <a:solidFill>
                <a:schemeClr val="bg2"/>
              </a:solidFill>
              <a:latin typeface="Calibri Light"/>
              <a:cs typeface="Calibri Light"/>
            </a:endParaRPr>
          </a:p>
        </p:txBody>
      </p:sp>
      <p:sp>
        <p:nvSpPr>
          <p:cNvPr id="10" name="Title 1"/>
          <p:cNvSpPr>
            <a:spLocks noGrp="1"/>
          </p:cNvSpPr>
          <p:nvPr>
            <p:ph type="title"/>
          </p:nvPr>
        </p:nvSpPr>
        <p:spPr>
          <a:xfrm>
            <a:off x="664632" y="203376"/>
            <a:ext cx="8144088" cy="706261"/>
          </a:xfrm>
        </p:spPr>
        <p:txBody>
          <a:bodyPr/>
          <a:lstStyle>
            <a:lvl1pPr>
              <a:defRPr>
                <a:solidFill>
                  <a:schemeClr val="tx1">
                    <a:lumMod val="50000"/>
                  </a:schemeClr>
                </a:solidFill>
              </a:defRPr>
            </a:lvl1pPr>
          </a:lstStyle>
          <a:p>
            <a:r>
              <a:rPr lang="en-US"/>
              <a:t>Click to edit Master title style</a:t>
            </a:r>
            <a:endParaRPr lang="en-GB"/>
          </a:p>
        </p:txBody>
      </p:sp>
      <p:sp>
        <p:nvSpPr>
          <p:cNvPr id="18" name="Content Placeholder 17"/>
          <p:cNvSpPr>
            <a:spLocks noGrp="1"/>
          </p:cNvSpPr>
          <p:nvPr>
            <p:ph sz="quarter" idx="10"/>
          </p:nvPr>
        </p:nvSpPr>
        <p:spPr>
          <a:xfrm>
            <a:off x="664635" y="1295400"/>
            <a:ext cx="10856805" cy="4366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2" name="Date Placeholder 1"/>
          <p:cNvSpPr>
            <a:spLocks noGrp="1"/>
          </p:cNvSpPr>
          <p:nvPr>
            <p:ph type="dt" sz="half" idx="11"/>
          </p:nvPr>
        </p:nvSpPr>
        <p:spPr/>
        <p:txBody>
          <a:bodyPr/>
          <a:lstStyle/>
          <a:p>
            <a:pPr algn="r"/>
            <a:r>
              <a:rPr lang="da-DK"/>
              <a:t>&lt;DD Month YYYY&gt;</a:t>
            </a:r>
            <a:endParaRPr lang="en-US"/>
          </a:p>
        </p:txBody>
      </p:sp>
      <p:sp>
        <p:nvSpPr>
          <p:cNvPr id="3" name="Footer Placeholder 2"/>
          <p:cNvSpPr>
            <a:spLocks noGrp="1"/>
          </p:cNvSpPr>
          <p:nvPr>
            <p:ph type="ftr" sz="quarter" idx="12"/>
          </p:nvPr>
        </p:nvSpPr>
        <p:spPr/>
        <p:txBody>
          <a:bodyPr/>
          <a:lstStyle/>
          <a:p>
            <a:r>
              <a:rPr lang="en-US"/>
              <a:t>&lt;Footer&gt;</a:t>
            </a:r>
            <a:endParaRPr lang="en-GB"/>
          </a:p>
        </p:txBody>
      </p:sp>
      <p:sp>
        <p:nvSpPr>
          <p:cNvPr id="4" name="Slide Number Placeholder 3"/>
          <p:cNvSpPr>
            <a:spLocks noGrp="1"/>
          </p:cNvSpPr>
          <p:nvPr>
            <p:ph type="sldNum" sz="quarter" idx="13"/>
          </p:nvPr>
        </p:nvSpPr>
        <p:spPr/>
        <p:txBody>
          <a:bodyPr/>
          <a:lstStyle/>
          <a:p>
            <a:fld id="{8EFF3B3A-7EEA-5E44-8ED8-372942253657}" type="slidenum">
              <a:rPr lang="en-US" smtClean="0"/>
              <a:pPr/>
              <a:t>‹#›</a:t>
            </a:fld>
            <a:endParaRPr lang="en-US"/>
          </a:p>
        </p:txBody>
      </p:sp>
      <p:sp>
        <p:nvSpPr>
          <p:cNvPr id="9" name="Freeform 8"/>
          <p:cNvSpPr>
            <a:spLocks noEditPoints="1"/>
          </p:cNvSpPr>
          <p:nvPr userDrawn="1"/>
        </p:nvSpPr>
        <p:spPr bwMode="auto">
          <a:xfrm>
            <a:off x="809461" y="1051200"/>
            <a:ext cx="11383433" cy="39688"/>
          </a:xfrm>
          <a:custGeom>
            <a:avLst/>
            <a:gdLst>
              <a:gd name="T0" fmla="*/ 288 w 16134"/>
              <a:gd name="T1" fmla="*/ 17 h 100"/>
              <a:gd name="T2" fmla="*/ 16134 w 16134"/>
              <a:gd name="T3" fmla="*/ 20 h 100"/>
              <a:gd name="T4" fmla="*/ 16134 w 16134"/>
              <a:gd name="T5" fmla="*/ 83 h 100"/>
              <a:gd name="T6" fmla="*/ 288 w 16134"/>
              <a:gd name="T7" fmla="*/ 80 h 100"/>
              <a:gd name="T8" fmla="*/ 284 w 16134"/>
              <a:gd name="T9" fmla="*/ 79 h 100"/>
              <a:gd name="T10" fmla="*/ 279 w 16134"/>
              <a:gd name="T11" fmla="*/ 77 h 100"/>
              <a:gd name="T12" fmla="*/ 275 w 16134"/>
              <a:gd name="T13" fmla="*/ 73 h 100"/>
              <a:gd name="T14" fmla="*/ 272 w 16134"/>
              <a:gd name="T15" fmla="*/ 69 h 100"/>
              <a:gd name="T16" fmla="*/ 269 w 16134"/>
              <a:gd name="T17" fmla="*/ 65 h 100"/>
              <a:gd name="T18" fmla="*/ 267 w 16134"/>
              <a:gd name="T19" fmla="*/ 60 h 100"/>
              <a:gd name="T20" fmla="*/ 266 w 16134"/>
              <a:gd name="T21" fmla="*/ 53 h 100"/>
              <a:gd name="T22" fmla="*/ 265 w 16134"/>
              <a:gd name="T23" fmla="*/ 47 h 100"/>
              <a:gd name="T24" fmla="*/ 266 w 16134"/>
              <a:gd name="T25" fmla="*/ 41 h 100"/>
              <a:gd name="T26" fmla="*/ 267 w 16134"/>
              <a:gd name="T27" fmla="*/ 35 h 100"/>
              <a:gd name="T28" fmla="*/ 269 w 16134"/>
              <a:gd name="T29" fmla="*/ 29 h 100"/>
              <a:gd name="T30" fmla="*/ 272 w 16134"/>
              <a:gd name="T31" fmla="*/ 25 h 100"/>
              <a:gd name="T32" fmla="*/ 275 w 16134"/>
              <a:gd name="T33" fmla="*/ 21 h 100"/>
              <a:gd name="T34" fmla="*/ 279 w 16134"/>
              <a:gd name="T35" fmla="*/ 19 h 100"/>
              <a:gd name="T36" fmla="*/ 284 w 16134"/>
              <a:gd name="T37" fmla="*/ 17 h 100"/>
              <a:gd name="T38" fmla="*/ 288 w 16134"/>
              <a:gd name="T39" fmla="*/ 17 h 100"/>
              <a:gd name="T40" fmla="*/ 37 w 16134"/>
              <a:gd name="T41" fmla="*/ 0 h 100"/>
              <a:gd name="T42" fmla="*/ 45 w 16134"/>
              <a:gd name="T43" fmla="*/ 1 h 100"/>
              <a:gd name="T44" fmla="*/ 52 w 16134"/>
              <a:gd name="T45" fmla="*/ 4 h 100"/>
              <a:gd name="T46" fmla="*/ 58 w 16134"/>
              <a:gd name="T47" fmla="*/ 8 h 100"/>
              <a:gd name="T48" fmla="*/ 65 w 16134"/>
              <a:gd name="T49" fmla="*/ 15 h 100"/>
              <a:gd name="T50" fmla="*/ 70 w 16134"/>
              <a:gd name="T51" fmla="*/ 23 h 100"/>
              <a:gd name="T52" fmla="*/ 73 w 16134"/>
              <a:gd name="T53" fmla="*/ 31 h 100"/>
              <a:gd name="T54" fmla="*/ 75 w 16134"/>
              <a:gd name="T55" fmla="*/ 40 h 100"/>
              <a:gd name="T56" fmla="*/ 76 w 16134"/>
              <a:gd name="T57" fmla="*/ 51 h 100"/>
              <a:gd name="T58" fmla="*/ 75 w 16134"/>
              <a:gd name="T59" fmla="*/ 60 h 100"/>
              <a:gd name="T60" fmla="*/ 73 w 16134"/>
              <a:gd name="T61" fmla="*/ 69 h 100"/>
              <a:gd name="T62" fmla="*/ 70 w 16134"/>
              <a:gd name="T63" fmla="*/ 77 h 100"/>
              <a:gd name="T64" fmla="*/ 65 w 16134"/>
              <a:gd name="T65" fmla="*/ 85 h 100"/>
              <a:gd name="T66" fmla="*/ 58 w 16134"/>
              <a:gd name="T67" fmla="*/ 92 h 100"/>
              <a:gd name="T68" fmla="*/ 52 w 16134"/>
              <a:gd name="T69" fmla="*/ 96 h 100"/>
              <a:gd name="T70" fmla="*/ 45 w 16134"/>
              <a:gd name="T71" fmla="*/ 99 h 100"/>
              <a:gd name="T72" fmla="*/ 37 w 16134"/>
              <a:gd name="T73" fmla="*/ 100 h 100"/>
              <a:gd name="T74" fmla="*/ 30 w 16134"/>
              <a:gd name="T75" fmla="*/ 99 h 100"/>
              <a:gd name="T76" fmla="*/ 23 w 16134"/>
              <a:gd name="T77" fmla="*/ 96 h 100"/>
              <a:gd name="T78" fmla="*/ 17 w 16134"/>
              <a:gd name="T79" fmla="*/ 92 h 100"/>
              <a:gd name="T80" fmla="*/ 11 w 16134"/>
              <a:gd name="T81" fmla="*/ 85 h 100"/>
              <a:gd name="T82" fmla="*/ 6 w 16134"/>
              <a:gd name="T83" fmla="*/ 77 h 100"/>
              <a:gd name="T84" fmla="*/ 3 w 16134"/>
              <a:gd name="T85" fmla="*/ 69 h 100"/>
              <a:gd name="T86" fmla="*/ 1 w 16134"/>
              <a:gd name="T87" fmla="*/ 60 h 100"/>
              <a:gd name="T88" fmla="*/ 0 w 16134"/>
              <a:gd name="T89" fmla="*/ 51 h 100"/>
              <a:gd name="T90" fmla="*/ 1 w 16134"/>
              <a:gd name="T91" fmla="*/ 40 h 100"/>
              <a:gd name="T92" fmla="*/ 3 w 16134"/>
              <a:gd name="T93" fmla="*/ 31 h 100"/>
              <a:gd name="T94" fmla="*/ 6 w 16134"/>
              <a:gd name="T95" fmla="*/ 23 h 100"/>
              <a:gd name="T96" fmla="*/ 11 w 16134"/>
              <a:gd name="T97" fmla="*/ 15 h 100"/>
              <a:gd name="T98" fmla="*/ 17 w 16134"/>
              <a:gd name="T99" fmla="*/ 8 h 100"/>
              <a:gd name="T100" fmla="*/ 23 w 16134"/>
              <a:gd name="T101" fmla="*/ 4 h 100"/>
              <a:gd name="T102" fmla="*/ 30 w 16134"/>
              <a:gd name="T103" fmla="*/ 1 h 100"/>
              <a:gd name="T104" fmla="*/ 37 w 16134"/>
              <a:gd name="T105" fmla="*/ 0 h 1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134"/>
              <a:gd name="T160" fmla="*/ 0 h 100"/>
              <a:gd name="T161" fmla="*/ 16134 w 16134"/>
              <a:gd name="T162" fmla="*/ 100 h 1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134" h="100">
                <a:moveTo>
                  <a:pt x="288" y="17"/>
                </a:moveTo>
                <a:lnTo>
                  <a:pt x="16134" y="20"/>
                </a:lnTo>
                <a:lnTo>
                  <a:pt x="16134" y="83"/>
                </a:lnTo>
                <a:lnTo>
                  <a:pt x="288" y="80"/>
                </a:lnTo>
                <a:lnTo>
                  <a:pt x="284" y="79"/>
                </a:lnTo>
                <a:lnTo>
                  <a:pt x="279" y="77"/>
                </a:lnTo>
                <a:lnTo>
                  <a:pt x="275" y="73"/>
                </a:lnTo>
                <a:lnTo>
                  <a:pt x="272" y="69"/>
                </a:lnTo>
                <a:lnTo>
                  <a:pt x="269" y="65"/>
                </a:lnTo>
                <a:lnTo>
                  <a:pt x="267" y="60"/>
                </a:lnTo>
                <a:lnTo>
                  <a:pt x="266" y="53"/>
                </a:lnTo>
                <a:lnTo>
                  <a:pt x="265" y="47"/>
                </a:lnTo>
                <a:lnTo>
                  <a:pt x="266" y="41"/>
                </a:lnTo>
                <a:lnTo>
                  <a:pt x="267" y="35"/>
                </a:lnTo>
                <a:lnTo>
                  <a:pt x="269" y="29"/>
                </a:lnTo>
                <a:lnTo>
                  <a:pt x="272" y="25"/>
                </a:lnTo>
                <a:lnTo>
                  <a:pt x="275" y="21"/>
                </a:lnTo>
                <a:lnTo>
                  <a:pt x="279" y="19"/>
                </a:lnTo>
                <a:lnTo>
                  <a:pt x="284" y="17"/>
                </a:lnTo>
                <a:lnTo>
                  <a:pt x="288" y="17"/>
                </a:lnTo>
                <a:close/>
                <a:moveTo>
                  <a:pt x="37" y="0"/>
                </a:moveTo>
                <a:lnTo>
                  <a:pt x="45" y="1"/>
                </a:lnTo>
                <a:lnTo>
                  <a:pt x="52" y="4"/>
                </a:lnTo>
                <a:lnTo>
                  <a:pt x="58" y="8"/>
                </a:lnTo>
                <a:lnTo>
                  <a:pt x="65" y="15"/>
                </a:lnTo>
                <a:lnTo>
                  <a:pt x="70" y="23"/>
                </a:lnTo>
                <a:lnTo>
                  <a:pt x="73" y="31"/>
                </a:lnTo>
                <a:lnTo>
                  <a:pt x="75" y="40"/>
                </a:lnTo>
                <a:lnTo>
                  <a:pt x="76" y="51"/>
                </a:lnTo>
                <a:lnTo>
                  <a:pt x="75" y="60"/>
                </a:lnTo>
                <a:lnTo>
                  <a:pt x="73" y="69"/>
                </a:lnTo>
                <a:lnTo>
                  <a:pt x="70" y="77"/>
                </a:lnTo>
                <a:lnTo>
                  <a:pt x="65" y="85"/>
                </a:lnTo>
                <a:lnTo>
                  <a:pt x="58" y="92"/>
                </a:lnTo>
                <a:lnTo>
                  <a:pt x="52" y="96"/>
                </a:lnTo>
                <a:lnTo>
                  <a:pt x="45" y="99"/>
                </a:lnTo>
                <a:lnTo>
                  <a:pt x="37" y="100"/>
                </a:lnTo>
                <a:lnTo>
                  <a:pt x="30" y="99"/>
                </a:lnTo>
                <a:lnTo>
                  <a:pt x="23" y="96"/>
                </a:lnTo>
                <a:lnTo>
                  <a:pt x="17" y="92"/>
                </a:lnTo>
                <a:lnTo>
                  <a:pt x="11" y="85"/>
                </a:lnTo>
                <a:lnTo>
                  <a:pt x="6" y="77"/>
                </a:lnTo>
                <a:lnTo>
                  <a:pt x="3" y="69"/>
                </a:lnTo>
                <a:lnTo>
                  <a:pt x="1" y="60"/>
                </a:lnTo>
                <a:lnTo>
                  <a:pt x="0" y="51"/>
                </a:lnTo>
                <a:lnTo>
                  <a:pt x="1" y="40"/>
                </a:lnTo>
                <a:lnTo>
                  <a:pt x="3" y="31"/>
                </a:lnTo>
                <a:lnTo>
                  <a:pt x="6" y="23"/>
                </a:lnTo>
                <a:lnTo>
                  <a:pt x="11" y="15"/>
                </a:lnTo>
                <a:lnTo>
                  <a:pt x="17" y="8"/>
                </a:lnTo>
                <a:lnTo>
                  <a:pt x="23" y="4"/>
                </a:lnTo>
                <a:lnTo>
                  <a:pt x="30" y="1"/>
                </a:lnTo>
                <a:lnTo>
                  <a:pt x="37" y="0"/>
                </a:lnTo>
                <a:close/>
              </a:path>
            </a:pathLst>
          </a:custGeom>
          <a:solidFill>
            <a:srgbClr val="BBBCBC"/>
          </a:solidFill>
          <a:ln w="9525">
            <a:noFill/>
            <a:round/>
            <a:headEnd/>
            <a:tailEnd/>
          </a:ln>
        </p:spPr>
        <p:txBody>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fontAlgn="auto">
              <a:spcBef>
                <a:spcPts val="0"/>
              </a:spcBef>
              <a:spcAft>
                <a:spcPts val="0"/>
              </a:spcAft>
              <a:defRPr/>
            </a:pPr>
            <a:endParaRPr lang="en-US" sz="1800">
              <a:latin typeface="+mn-lt"/>
              <a:cs typeface="+mn-cs"/>
            </a:endParaRPr>
          </a:p>
        </p:txBody>
      </p:sp>
      <p:sp>
        <p:nvSpPr>
          <p:cNvPr id="11" name="Freeform 10"/>
          <p:cNvSpPr>
            <a:spLocks noEditPoints="1"/>
          </p:cNvSpPr>
          <p:nvPr userDrawn="1"/>
        </p:nvSpPr>
        <p:spPr bwMode="auto">
          <a:xfrm>
            <a:off x="9148234" y="425939"/>
            <a:ext cx="1540225" cy="261923"/>
          </a:xfrm>
          <a:custGeom>
            <a:avLst/>
            <a:gdLst/>
            <a:ahLst/>
            <a:cxnLst>
              <a:cxn ang="0">
                <a:pos x="2628" y="2218"/>
              </a:cxn>
              <a:cxn ang="0">
                <a:pos x="2527" y="1531"/>
              </a:cxn>
              <a:cxn ang="0">
                <a:pos x="2975" y="1304"/>
              </a:cxn>
              <a:cxn ang="0">
                <a:pos x="2788" y="816"/>
              </a:cxn>
              <a:cxn ang="0">
                <a:pos x="1945" y="1477"/>
              </a:cxn>
              <a:cxn ang="0">
                <a:pos x="2308" y="2651"/>
              </a:cxn>
              <a:cxn ang="0">
                <a:pos x="3623" y="2695"/>
              </a:cxn>
              <a:cxn ang="0">
                <a:pos x="3683" y="884"/>
              </a:cxn>
              <a:cxn ang="0">
                <a:pos x="500" y="2690"/>
              </a:cxn>
              <a:cxn ang="0">
                <a:pos x="539" y="16"/>
              </a:cxn>
              <a:cxn ang="0">
                <a:pos x="1748" y="869"/>
              </a:cxn>
              <a:cxn ang="0">
                <a:pos x="710" y="1721"/>
              </a:cxn>
              <a:cxn ang="0">
                <a:pos x="1810" y="2694"/>
              </a:cxn>
              <a:cxn ang="0">
                <a:pos x="6666" y="978"/>
              </a:cxn>
              <a:cxn ang="0">
                <a:pos x="5880" y="877"/>
              </a:cxn>
              <a:cxn ang="0">
                <a:pos x="5364" y="869"/>
              </a:cxn>
              <a:cxn ang="0">
                <a:pos x="4573" y="1017"/>
              </a:cxn>
              <a:cxn ang="0">
                <a:pos x="4498" y="2694"/>
              </a:cxn>
              <a:cxn ang="0">
                <a:pos x="4847" y="1328"/>
              </a:cxn>
              <a:cxn ang="0">
                <a:pos x="5164" y="1525"/>
              </a:cxn>
              <a:cxn ang="0">
                <a:pos x="5739" y="1436"/>
              </a:cxn>
              <a:cxn ang="0">
                <a:pos x="6245" y="1380"/>
              </a:cxn>
              <a:cxn ang="0">
                <a:pos x="6842" y="2646"/>
              </a:cxn>
              <a:cxn ang="0">
                <a:pos x="8838" y="2358"/>
              </a:cxn>
              <a:cxn ang="0">
                <a:pos x="9271" y="2723"/>
              </a:cxn>
              <a:cxn ang="0">
                <a:pos x="9961" y="2571"/>
              </a:cxn>
              <a:cxn ang="0">
                <a:pos x="9524" y="2283"/>
              </a:cxn>
              <a:cxn ang="0">
                <a:pos x="9820" y="1233"/>
              </a:cxn>
              <a:cxn ang="0">
                <a:pos x="9784" y="857"/>
              </a:cxn>
              <a:cxn ang="0">
                <a:pos x="11165" y="807"/>
              </a:cxn>
              <a:cxn ang="0">
                <a:pos x="10738" y="873"/>
              </a:cxn>
              <a:cxn ang="0">
                <a:pos x="10790" y="2649"/>
              </a:cxn>
              <a:cxn ang="0">
                <a:pos x="11262" y="1321"/>
              </a:cxn>
              <a:cxn ang="0">
                <a:pos x="7793" y="1477"/>
              </a:cxn>
              <a:cxn ang="0">
                <a:pos x="7853" y="1229"/>
              </a:cxn>
              <a:cxn ang="0">
                <a:pos x="8365" y="1340"/>
              </a:cxn>
              <a:cxn ang="0">
                <a:pos x="8452" y="1255"/>
              </a:cxn>
              <a:cxn ang="0">
                <a:pos x="7841" y="785"/>
              </a:cxn>
              <a:cxn ang="0">
                <a:pos x="7119" y="1250"/>
              </a:cxn>
              <a:cxn ang="0">
                <a:pos x="7387" y="1840"/>
              </a:cxn>
              <a:cxn ang="0">
                <a:pos x="7988" y="2264"/>
              </a:cxn>
              <a:cxn ang="0">
                <a:pos x="7322" y="2205"/>
              </a:cxn>
              <a:cxn ang="0">
                <a:pos x="7191" y="2179"/>
              </a:cxn>
              <a:cxn ang="0">
                <a:pos x="7105" y="2540"/>
              </a:cxn>
              <a:cxn ang="0">
                <a:pos x="7976" y="2739"/>
              </a:cxn>
              <a:cxn ang="0">
                <a:pos x="8567" y="2096"/>
              </a:cxn>
              <a:cxn ang="0">
                <a:pos x="8242" y="1657"/>
              </a:cxn>
              <a:cxn ang="0">
                <a:pos x="12332" y="2221"/>
              </a:cxn>
              <a:cxn ang="0">
                <a:pos x="12167" y="880"/>
              </a:cxn>
              <a:cxn ang="0">
                <a:pos x="11734" y="2508"/>
              </a:cxn>
              <a:cxn ang="0">
                <a:pos x="12648" y="2638"/>
              </a:cxn>
              <a:cxn ang="0">
                <a:pos x="13345" y="915"/>
              </a:cxn>
              <a:cxn ang="0">
                <a:pos x="14559" y="2285"/>
              </a:cxn>
              <a:cxn ang="0">
                <a:pos x="14442" y="1283"/>
              </a:cxn>
              <a:cxn ang="0">
                <a:pos x="14876" y="1552"/>
              </a:cxn>
              <a:cxn ang="0">
                <a:pos x="15143" y="946"/>
              </a:cxn>
              <a:cxn ang="0">
                <a:pos x="14320" y="914"/>
              </a:cxn>
              <a:cxn ang="0">
                <a:pos x="13678" y="3385"/>
              </a:cxn>
              <a:cxn ang="0">
                <a:pos x="14428" y="2700"/>
              </a:cxn>
              <a:cxn ang="0">
                <a:pos x="15080" y="2622"/>
              </a:cxn>
              <a:cxn ang="0">
                <a:pos x="15469" y="1950"/>
              </a:cxn>
            </a:cxnLst>
            <a:rect l="0" t="0" r="r" b="b"/>
            <a:pathLst>
              <a:path w="15484" h="3498">
                <a:moveTo>
                  <a:pt x="3150" y="2132"/>
                </a:moveTo>
                <a:lnTo>
                  <a:pt x="3142" y="2143"/>
                </a:lnTo>
                <a:lnTo>
                  <a:pt x="3130" y="2154"/>
                </a:lnTo>
                <a:lnTo>
                  <a:pt x="3116" y="2167"/>
                </a:lnTo>
                <a:lnTo>
                  <a:pt x="3101" y="2180"/>
                </a:lnTo>
                <a:lnTo>
                  <a:pt x="3084" y="2194"/>
                </a:lnTo>
                <a:lnTo>
                  <a:pt x="3066" y="2207"/>
                </a:lnTo>
                <a:lnTo>
                  <a:pt x="3047" y="2219"/>
                </a:lnTo>
                <a:lnTo>
                  <a:pt x="3027" y="2232"/>
                </a:lnTo>
                <a:lnTo>
                  <a:pt x="3006" y="2244"/>
                </a:lnTo>
                <a:lnTo>
                  <a:pt x="2982" y="2254"/>
                </a:lnTo>
                <a:lnTo>
                  <a:pt x="2959" y="2265"/>
                </a:lnTo>
                <a:lnTo>
                  <a:pt x="2936" y="2273"/>
                </a:lnTo>
                <a:lnTo>
                  <a:pt x="2911" y="2280"/>
                </a:lnTo>
                <a:lnTo>
                  <a:pt x="2886" y="2285"/>
                </a:lnTo>
                <a:lnTo>
                  <a:pt x="2873" y="2287"/>
                </a:lnTo>
                <a:lnTo>
                  <a:pt x="2861" y="2288"/>
                </a:lnTo>
                <a:lnTo>
                  <a:pt x="2848" y="2289"/>
                </a:lnTo>
                <a:lnTo>
                  <a:pt x="2836" y="2289"/>
                </a:lnTo>
                <a:lnTo>
                  <a:pt x="2809" y="2289"/>
                </a:lnTo>
                <a:lnTo>
                  <a:pt x="2785" y="2286"/>
                </a:lnTo>
                <a:lnTo>
                  <a:pt x="2761" y="2283"/>
                </a:lnTo>
                <a:lnTo>
                  <a:pt x="2739" y="2278"/>
                </a:lnTo>
                <a:lnTo>
                  <a:pt x="2718" y="2270"/>
                </a:lnTo>
                <a:lnTo>
                  <a:pt x="2697" y="2263"/>
                </a:lnTo>
                <a:lnTo>
                  <a:pt x="2678" y="2253"/>
                </a:lnTo>
                <a:lnTo>
                  <a:pt x="2661" y="2243"/>
                </a:lnTo>
                <a:lnTo>
                  <a:pt x="2644" y="2231"/>
                </a:lnTo>
                <a:lnTo>
                  <a:pt x="2628" y="2218"/>
                </a:lnTo>
                <a:lnTo>
                  <a:pt x="2615" y="2204"/>
                </a:lnTo>
                <a:lnTo>
                  <a:pt x="2601" y="2190"/>
                </a:lnTo>
                <a:lnTo>
                  <a:pt x="2588" y="2174"/>
                </a:lnTo>
                <a:lnTo>
                  <a:pt x="2576" y="2158"/>
                </a:lnTo>
                <a:lnTo>
                  <a:pt x="2566" y="2140"/>
                </a:lnTo>
                <a:lnTo>
                  <a:pt x="2556" y="2121"/>
                </a:lnTo>
                <a:lnTo>
                  <a:pt x="2547" y="2102"/>
                </a:lnTo>
                <a:lnTo>
                  <a:pt x="2538" y="2083"/>
                </a:lnTo>
                <a:lnTo>
                  <a:pt x="2531" y="2063"/>
                </a:lnTo>
                <a:lnTo>
                  <a:pt x="2524" y="2043"/>
                </a:lnTo>
                <a:lnTo>
                  <a:pt x="2518" y="2022"/>
                </a:lnTo>
                <a:lnTo>
                  <a:pt x="2512" y="2000"/>
                </a:lnTo>
                <a:lnTo>
                  <a:pt x="2508" y="1979"/>
                </a:lnTo>
                <a:lnTo>
                  <a:pt x="2504" y="1957"/>
                </a:lnTo>
                <a:lnTo>
                  <a:pt x="2500" y="1936"/>
                </a:lnTo>
                <a:lnTo>
                  <a:pt x="2498" y="1913"/>
                </a:lnTo>
                <a:lnTo>
                  <a:pt x="2494" y="1890"/>
                </a:lnTo>
                <a:lnTo>
                  <a:pt x="2493" y="1867"/>
                </a:lnTo>
                <a:lnTo>
                  <a:pt x="2490" y="1823"/>
                </a:lnTo>
                <a:lnTo>
                  <a:pt x="2490" y="1779"/>
                </a:lnTo>
                <a:lnTo>
                  <a:pt x="2490" y="1747"/>
                </a:lnTo>
                <a:lnTo>
                  <a:pt x="2492" y="1716"/>
                </a:lnTo>
                <a:lnTo>
                  <a:pt x="2494" y="1686"/>
                </a:lnTo>
                <a:lnTo>
                  <a:pt x="2498" y="1657"/>
                </a:lnTo>
                <a:lnTo>
                  <a:pt x="2502" y="1629"/>
                </a:lnTo>
                <a:lnTo>
                  <a:pt x="2507" y="1604"/>
                </a:lnTo>
                <a:lnTo>
                  <a:pt x="2512" y="1578"/>
                </a:lnTo>
                <a:lnTo>
                  <a:pt x="2520" y="1554"/>
                </a:lnTo>
                <a:lnTo>
                  <a:pt x="2527" y="1531"/>
                </a:lnTo>
                <a:lnTo>
                  <a:pt x="2536" y="1508"/>
                </a:lnTo>
                <a:lnTo>
                  <a:pt x="2544" y="1488"/>
                </a:lnTo>
                <a:lnTo>
                  <a:pt x="2554" y="1468"/>
                </a:lnTo>
                <a:lnTo>
                  <a:pt x="2565" y="1449"/>
                </a:lnTo>
                <a:lnTo>
                  <a:pt x="2575" y="1431"/>
                </a:lnTo>
                <a:lnTo>
                  <a:pt x="2587" y="1415"/>
                </a:lnTo>
                <a:lnTo>
                  <a:pt x="2600" y="1399"/>
                </a:lnTo>
                <a:lnTo>
                  <a:pt x="2612" y="1384"/>
                </a:lnTo>
                <a:lnTo>
                  <a:pt x="2625" y="1370"/>
                </a:lnTo>
                <a:lnTo>
                  <a:pt x="2639" y="1357"/>
                </a:lnTo>
                <a:lnTo>
                  <a:pt x="2653" y="1346"/>
                </a:lnTo>
                <a:lnTo>
                  <a:pt x="2668" y="1335"/>
                </a:lnTo>
                <a:lnTo>
                  <a:pt x="2683" y="1325"/>
                </a:lnTo>
                <a:lnTo>
                  <a:pt x="2697" y="1317"/>
                </a:lnTo>
                <a:lnTo>
                  <a:pt x="2713" y="1308"/>
                </a:lnTo>
                <a:lnTo>
                  <a:pt x="2729" y="1302"/>
                </a:lnTo>
                <a:lnTo>
                  <a:pt x="2745" y="1296"/>
                </a:lnTo>
                <a:lnTo>
                  <a:pt x="2762" y="1291"/>
                </a:lnTo>
                <a:lnTo>
                  <a:pt x="2778" y="1287"/>
                </a:lnTo>
                <a:lnTo>
                  <a:pt x="2795" y="1284"/>
                </a:lnTo>
                <a:lnTo>
                  <a:pt x="2812" y="1282"/>
                </a:lnTo>
                <a:lnTo>
                  <a:pt x="2829" y="1281"/>
                </a:lnTo>
                <a:lnTo>
                  <a:pt x="2846" y="1280"/>
                </a:lnTo>
                <a:lnTo>
                  <a:pt x="2868" y="1281"/>
                </a:lnTo>
                <a:lnTo>
                  <a:pt x="2889" y="1283"/>
                </a:lnTo>
                <a:lnTo>
                  <a:pt x="2911" y="1286"/>
                </a:lnTo>
                <a:lnTo>
                  <a:pt x="2932" y="1291"/>
                </a:lnTo>
                <a:lnTo>
                  <a:pt x="2954" y="1298"/>
                </a:lnTo>
                <a:lnTo>
                  <a:pt x="2975" y="1304"/>
                </a:lnTo>
                <a:lnTo>
                  <a:pt x="2995" y="1313"/>
                </a:lnTo>
                <a:lnTo>
                  <a:pt x="3015" y="1321"/>
                </a:lnTo>
                <a:lnTo>
                  <a:pt x="3036" y="1331"/>
                </a:lnTo>
                <a:lnTo>
                  <a:pt x="3055" y="1340"/>
                </a:lnTo>
                <a:lnTo>
                  <a:pt x="3073" y="1351"/>
                </a:lnTo>
                <a:lnTo>
                  <a:pt x="3091" y="1363"/>
                </a:lnTo>
                <a:lnTo>
                  <a:pt x="3108" y="1373"/>
                </a:lnTo>
                <a:lnTo>
                  <a:pt x="3123" y="1385"/>
                </a:lnTo>
                <a:lnTo>
                  <a:pt x="3138" y="1397"/>
                </a:lnTo>
                <a:lnTo>
                  <a:pt x="3150" y="1407"/>
                </a:lnTo>
                <a:lnTo>
                  <a:pt x="3150" y="2132"/>
                </a:lnTo>
                <a:close/>
                <a:moveTo>
                  <a:pt x="3191" y="1027"/>
                </a:moveTo>
                <a:lnTo>
                  <a:pt x="3189" y="1025"/>
                </a:lnTo>
                <a:lnTo>
                  <a:pt x="3187" y="1022"/>
                </a:lnTo>
                <a:lnTo>
                  <a:pt x="3171" y="1001"/>
                </a:lnTo>
                <a:lnTo>
                  <a:pt x="3152" y="981"/>
                </a:lnTo>
                <a:lnTo>
                  <a:pt x="3132" y="961"/>
                </a:lnTo>
                <a:lnTo>
                  <a:pt x="3111" y="942"/>
                </a:lnTo>
                <a:lnTo>
                  <a:pt x="3088" y="924"/>
                </a:lnTo>
                <a:lnTo>
                  <a:pt x="3062" y="907"/>
                </a:lnTo>
                <a:lnTo>
                  <a:pt x="3034" y="891"/>
                </a:lnTo>
                <a:lnTo>
                  <a:pt x="3007" y="876"/>
                </a:lnTo>
                <a:lnTo>
                  <a:pt x="2976" y="863"/>
                </a:lnTo>
                <a:lnTo>
                  <a:pt x="2945" y="850"/>
                </a:lnTo>
                <a:lnTo>
                  <a:pt x="2912" y="840"/>
                </a:lnTo>
                <a:lnTo>
                  <a:pt x="2878" y="831"/>
                </a:lnTo>
                <a:lnTo>
                  <a:pt x="2843" y="824"/>
                </a:lnTo>
                <a:lnTo>
                  <a:pt x="2806" y="819"/>
                </a:lnTo>
                <a:lnTo>
                  <a:pt x="2788" y="816"/>
                </a:lnTo>
                <a:lnTo>
                  <a:pt x="2769" y="815"/>
                </a:lnTo>
                <a:lnTo>
                  <a:pt x="2750" y="814"/>
                </a:lnTo>
                <a:lnTo>
                  <a:pt x="2730" y="814"/>
                </a:lnTo>
                <a:lnTo>
                  <a:pt x="2691" y="815"/>
                </a:lnTo>
                <a:lnTo>
                  <a:pt x="2653" y="819"/>
                </a:lnTo>
                <a:lnTo>
                  <a:pt x="2615" y="823"/>
                </a:lnTo>
                <a:lnTo>
                  <a:pt x="2576" y="830"/>
                </a:lnTo>
                <a:lnTo>
                  <a:pt x="2538" y="839"/>
                </a:lnTo>
                <a:lnTo>
                  <a:pt x="2501" y="850"/>
                </a:lnTo>
                <a:lnTo>
                  <a:pt x="2464" y="863"/>
                </a:lnTo>
                <a:lnTo>
                  <a:pt x="2426" y="878"/>
                </a:lnTo>
                <a:lnTo>
                  <a:pt x="2391" y="894"/>
                </a:lnTo>
                <a:lnTo>
                  <a:pt x="2355" y="913"/>
                </a:lnTo>
                <a:lnTo>
                  <a:pt x="2321" y="933"/>
                </a:lnTo>
                <a:lnTo>
                  <a:pt x="2287" y="957"/>
                </a:lnTo>
                <a:lnTo>
                  <a:pt x="2254" y="981"/>
                </a:lnTo>
                <a:lnTo>
                  <a:pt x="2222" y="1008"/>
                </a:lnTo>
                <a:lnTo>
                  <a:pt x="2191" y="1036"/>
                </a:lnTo>
                <a:lnTo>
                  <a:pt x="2162" y="1066"/>
                </a:lnTo>
                <a:lnTo>
                  <a:pt x="2134" y="1099"/>
                </a:lnTo>
                <a:lnTo>
                  <a:pt x="2106" y="1133"/>
                </a:lnTo>
                <a:lnTo>
                  <a:pt x="2081" y="1169"/>
                </a:lnTo>
                <a:lnTo>
                  <a:pt x="2056" y="1208"/>
                </a:lnTo>
                <a:lnTo>
                  <a:pt x="2034" y="1248"/>
                </a:lnTo>
                <a:lnTo>
                  <a:pt x="2013" y="1289"/>
                </a:lnTo>
                <a:lnTo>
                  <a:pt x="1993" y="1334"/>
                </a:lnTo>
                <a:lnTo>
                  <a:pt x="1975" y="1380"/>
                </a:lnTo>
                <a:lnTo>
                  <a:pt x="1959" y="1428"/>
                </a:lnTo>
                <a:lnTo>
                  <a:pt x="1945" y="1477"/>
                </a:lnTo>
                <a:lnTo>
                  <a:pt x="1933" y="1530"/>
                </a:lnTo>
                <a:lnTo>
                  <a:pt x="1922" y="1583"/>
                </a:lnTo>
                <a:lnTo>
                  <a:pt x="1914" y="1638"/>
                </a:lnTo>
                <a:lnTo>
                  <a:pt x="1909" y="1696"/>
                </a:lnTo>
                <a:lnTo>
                  <a:pt x="1905" y="1755"/>
                </a:lnTo>
                <a:lnTo>
                  <a:pt x="1904" y="1816"/>
                </a:lnTo>
                <a:lnTo>
                  <a:pt x="1904" y="1863"/>
                </a:lnTo>
                <a:lnTo>
                  <a:pt x="1907" y="1909"/>
                </a:lnTo>
                <a:lnTo>
                  <a:pt x="1911" y="1955"/>
                </a:lnTo>
                <a:lnTo>
                  <a:pt x="1916" y="2000"/>
                </a:lnTo>
                <a:lnTo>
                  <a:pt x="1922" y="2044"/>
                </a:lnTo>
                <a:lnTo>
                  <a:pt x="1931" y="2087"/>
                </a:lnTo>
                <a:lnTo>
                  <a:pt x="1941" y="2130"/>
                </a:lnTo>
                <a:lnTo>
                  <a:pt x="1952" y="2173"/>
                </a:lnTo>
                <a:lnTo>
                  <a:pt x="1965" y="2213"/>
                </a:lnTo>
                <a:lnTo>
                  <a:pt x="1979" y="2253"/>
                </a:lnTo>
                <a:lnTo>
                  <a:pt x="1995" y="2292"/>
                </a:lnTo>
                <a:lnTo>
                  <a:pt x="2012" y="2330"/>
                </a:lnTo>
                <a:lnTo>
                  <a:pt x="2031" y="2366"/>
                </a:lnTo>
                <a:lnTo>
                  <a:pt x="2051" y="2401"/>
                </a:lnTo>
                <a:lnTo>
                  <a:pt x="2073" y="2435"/>
                </a:lnTo>
                <a:lnTo>
                  <a:pt x="2098" y="2468"/>
                </a:lnTo>
                <a:lnTo>
                  <a:pt x="2122" y="2499"/>
                </a:lnTo>
                <a:lnTo>
                  <a:pt x="2150" y="2529"/>
                </a:lnTo>
                <a:lnTo>
                  <a:pt x="2178" y="2556"/>
                </a:lnTo>
                <a:lnTo>
                  <a:pt x="2208" y="2582"/>
                </a:lnTo>
                <a:lnTo>
                  <a:pt x="2239" y="2607"/>
                </a:lnTo>
                <a:lnTo>
                  <a:pt x="2273" y="2629"/>
                </a:lnTo>
                <a:lnTo>
                  <a:pt x="2308" y="2651"/>
                </a:lnTo>
                <a:lnTo>
                  <a:pt x="2345" y="2669"/>
                </a:lnTo>
                <a:lnTo>
                  <a:pt x="2383" y="2686"/>
                </a:lnTo>
                <a:lnTo>
                  <a:pt x="2422" y="2701"/>
                </a:lnTo>
                <a:lnTo>
                  <a:pt x="2464" y="2713"/>
                </a:lnTo>
                <a:lnTo>
                  <a:pt x="2507" y="2724"/>
                </a:lnTo>
                <a:lnTo>
                  <a:pt x="2552" y="2733"/>
                </a:lnTo>
                <a:lnTo>
                  <a:pt x="2599" y="2739"/>
                </a:lnTo>
                <a:lnTo>
                  <a:pt x="2646" y="2742"/>
                </a:lnTo>
                <a:lnTo>
                  <a:pt x="2696" y="2744"/>
                </a:lnTo>
                <a:lnTo>
                  <a:pt x="2728" y="2743"/>
                </a:lnTo>
                <a:lnTo>
                  <a:pt x="2761" y="2740"/>
                </a:lnTo>
                <a:lnTo>
                  <a:pt x="2794" y="2735"/>
                </a:lnTo>
                <a:lnTo>
                  <a:pt x="2828" y="2728"/>
                </a:lnTo>
                <a:lnTo>
                  <a:pt x="2862" y="2721"/>
                </a:lnTo>
                <a:lnTo>
                  <a:pt x="2896" y="2711"/>
                </a:lnTo>
                <a:lnTo>
                  <a:pt x="2930" y="2700"/>
                </a:lnTo>
                <a:lnTo>
                  <a:pt x="2963" y="2688"/>
                </a:lnTo>
                <a:lnTo>
                  <a:pt x="2996" y="2674"/>
                </a:lnTo>
                <a:lnTo>
                  <a:pt x="3028" y="2659"/>
                </a:lnTo>
                <a:lnTo>
                  <a:pt x="3059" y="2644"/>
                </a:lnTo>
                <a:lnTo>
                  <a:pt x="3089" y="2627"/>
                </a:lnTo>
                <a:lnTo>
                  <a:pt x="3117" y="2610"/>
                </a:lnTo>
                <a:lnTo>
                  <a:pt x="3143" y="2592"/>
                </a:lnTo>
                <a:lnTo>
                  <a:pt x="3168" y="2573"/>
                </a:lnTo>
                <a:lnTo>
                  <a:pt x="3191" y="2554"/>
                </a:lnTo>
                <a:lnTo>
                  <a:pt x="3191" y="2695"/>
                </a:lnTo>
                <a:lnTo>
                  <a:pt x="3285" y="2695"/>
                </a:lnTo>
                <a:lnTo>
                  <a:pt x="3475" y="2695"/>
                </a:lnTo>
                <a:lnTo>
                  <a:pt x="3623" y="2695"/>
                </a:lnTo>
                <a:lnTo>
                  <a:pt x="3633" y="2694"/>
                </a:lnTo>
                <a:lnTo>
                  <a:pt x="3643" y="2693"/>
                </a:lnTo>
                <a:lnTo>
                  <a:pt x="3652" y="2692"/>
                </a:lnTo>
                <a:lnTo>
                  <a:pt x="3660" y="2689"/>
                </a:lnTo>
                <a:lnTo>
                  <a:pt x="3668" y="2686"/>
                </a:lnTo>
                <a:lnTo>
                  <a:pt x="3676" y="2683"/>
                </a:lnTo>
                <a:lnTo>
                  <a:pt x="3682" y="2677"/>
                </a:lnTo>
                <a:lnTo>
                  <a:pt x="3688" y="2673"/>
                </a:lnTo>
                <a:lnTo>
                  <a:pt x="3695" y="2667"/>
                </a:lnTo>
                <a:lnTo>
                  <a:pt x="3699" y="2660"/>
                </a:lnTo>
                <a:lnTo>
                  <a:pt x="3703" y="2653"/>
                </a:lnTo>
                <a:lnTo>
                  <a:pt x="3707" y="2644"/>
                </a:lnTo>
                <a:lnTo>
                  <a:pt x="3711" y="2636"/>
                </a:lnTo>
                <a:lnTo>
                  <a:pt x="3713" y="2626"/>
                </a:lnTo>
                <a:lnTo>
                  <a:pt x="3714" y="2616"/>
                </a:lnTo>
                <a:lnTo>
                  <a:pt x="3714" y="2605"/>
                </a:lnTo>
                <a:lnTo>
                  <a:pt x="3714" y="2253"/>
                </a:lnTo>
                <a:lnTo>
                  <a:pt x="3714" y="2252"/>
                </a:lnTo>
                <a:lnTo>
                  <a:pt x="3714" y="2252"/>
                </a:lnTo>
                <a:lnTo>
                  <a:pt x="3714" y="957"/>
                </a:lnTo>
                <a:lnTo>
                  <a:pt x="3714" y="946"/>
                </a:lnTo>
                <a:lnTo>
                  <a:pt x="3713" y="935"/>
                </a:lnTo>
                <a:lnTo>
                  <a:pt x="3711" y="927"/>
                </a:lnTo>
                <a:lnTo>
                  <a:pt x="3707" y="917"/>
                </a:lnTo>
                <a:lnTo>
                  <a:pt x="3704" y="910"/>
                </a:lnTo>
                <a:lnTo>
                  <a:pt x="3700" y="903"/>
                </a:lnTo>
                <a:lnTo>
                  <a:pt x="3695" y="895"/>
                </a:lnTo>
                <a:lnTo>
                  <a:pt x="3689" y="890"/>
                </a:lnTo>
                <a:lnTo>
                  <a:pt x="3683" y="884"/>
                </a:lnTo>
                <a:lnTo>
                  <a:pt x="3676" y="879"/>
                </a:lnTo>
                <a:lnTo>
                  <a:pt x="3668" y="876"/>
                </a:lnTo>
                <a:lnTo>
                  <a:pt x="3661" y="873"/>
                </a:lnTo>
                <a:lnTo>
                  <a:pt x="3652" y="870"/>
                </a:lnTo>
                <a:lnTo>
                  <a:pt x="3643" y="869"/>
                </a:lnTo>
                <a:lnTo>
                  <a:pt x="3634" y="867"/>
                </a:lnTo>
                <a:lnTo>
                  <a:pt x="3625" y="866"/>
                </a:lnTo>
                <a:lnTo>
                  <a:pt x="3475" y="866"/>
                </a:lnTo>
                <a:lnTo>
                  <a:pt x="3286" y="866"/>
                </a:lnTo>
                <a:lnTo>
                  <a:pt x="3191" y="866"/>
                </a:lnTo>
                <a:lnTo>
                  <a:pt x="3191" y="1027"/>
                </a:lnTo>
                <a:close/>
                <a:moveTo>
                  <a:pt x="488" y="0"/>
                </a:moveTo>
                <a:lnTo>
                  <a:pt x="479" y="0"/>
                </a:lnTo>
                <a:lnTo>
                  <a:pt x="469" y="1"/>
                </a:lnTo>
                <a:lnTo>
                  <a:pt x="457" y="2"/>
                </a:lnTo>
                <a:lnTo>
                  <a:pt x="447" y="5"/>
                </a:lnTo>
                <a:lnTo>
                  <a:pt x="90" y="53"/>
                </a:lnTo>
                <a:lnTo>
                  <a:pt x="0" y="66"/>
                </a:lnTo>
                <a:lnTo>
                  <a:pt x="0" y="159"/>
                </a:lnTo>
                <a:lnTo>
                  <a:pt x="0" y="252"/>
                </a:lnTo>
                <a:lnTo>
                  <a:pt x="0" y="2436"/>
                </a:lnTo>
                <a:lnTo>
                  <a:pt x="0" y="2593"/>
                </a:lnTo>
                <a:lnTo>
                  <a:pt x="0" y="2694"/>
                </a:lnTo>
                <a:lnTo>
                  <a:pt x="101" y="2694"/>
                </a:lnTo>
                <a:lnTo>
                  <a:pt x="181" y="2694"/>
                </a:lnTo>
                <a:lnTo>
                  <a:pt x="466" y="2694"/>
                </a:lnTo>
                <a:lnTo>
                  <a:pt x="478" y="2694"/>
                </a:lnTo>
                <a:lnTo>
                  <a:pt x="489" y="2693"/>
                </a:lnTo>
                <a:lnTo>
                  <a:pt x="500" y="2690"/>
                </a:lnTo>
                <a:lnTo>
                  <a:pt x="510" y="2687"/>
                </a:lnTo>
                <a:lnTo>
                  <a:pt x="518" y="2683"/>
                </a:lnTo>
                <a:lnTo>
                  <a:pt x="526" y="2678"/>
                </a:lnTo>
                <a:lnTo>
                  <a:pt x="533" y="2672"/>
                </a:lnTo>
                <a:lnTo>
                  <a:pt x="539" y="2666"/>
                </a:lnTo>
                <a:lnTo>
                  <a:pt x="546" y="2659"/>
                </a:lnTo>
                <a:lnTo>
                  <a:pt x="550" y="2651"/>
                </a:lnTo>
                <a:lnTo>
                  <a:pt x="554" y="2642"/>
                </a:lnTo>
                <a:lnTo>
                  <a:pt x="557" y="2633"/>
                </a:lnTo>
                <a:lnTo>
                  <a:pt x="560" y="2623"/>
                </a:lnTo>
                <a:lnTo>
                  <a:pt x="562" y="2612"/>
                </a:lnTo>
                <a:lnTo>
                  <a:pt x="563" y="2601"/>
                </a:lnTo>
                <a:lnTo>
                  <a:pt x="563" y="2589"/>
                </a:lnTo>
                <a:lnTo>
                  <a:pt x="563" y="2380"/>
                </a:lnTo>
                <a:lnTo>
                  <a:pt x="563" y="1896"/>
                </a:lnTo>
                <a:lnTo>
                  <a:pt x="563" y="1858"/>
                </a:lnTo>
                <a:lnTo>
                  <a:pt x="563" y="1599"/>
                </a:lnTo>
                <a:lnTo>
                  <a:pt x="563" y="1558"/>
                </a:lnTo>
                <a:lnTo>
                  <a:pt x="563" y="728"/>
                </a:lnTo>
                <a:lnTo>
                  <a:pt x="563" y="98"/>
                </a:lnTo>
                <a:lnTo>
                  <a:pt x="563" y="85"/>
                </a:lnTo>
                <a:lnTo>
                  <a:pt x="562" y="73"/>
                </a:lnTo>
                <a:lnTo>
                  <a:pt x="561" y="62"/>
                </a:lnTo>
                <a:lnTo>
                  <a:pt x="558" y="51"/>
                </a:lnTo>
                <a:lnTo>
                  <a:pt x="555" y="43"/>
                </a:lnTo>
                <a:lnTo>
                  <a:pt x="552" y="34"/>
                </a:lnTo>
                <a:lnTo>
                  <a:pt x="548" y="28"/>
                </a:lnTo>
                <a:lnTo>
                  <a:pt x="544" y="22"/>
                </a:lnTo>
                <a:lnTo>
                  <a:pt x="539" y="16"/>
                </a:lnTo>
                <a:lnTo>
                  <a:pt x="533" y="12"/>
                </a:lnTo>
                <a:lnTo>
                  <a:pt x="527" y="9"/>
                </a:lnTo>
                <a:lnTo>
                  <a:pt x="520" y="6"/>
                </a:lnTo>
                <a:lnTo>
                  <a:pt x="513" y="3"/>
                </a:lnTo>
                <a:lnTo>
                  <a:pt x="505" y="1"/>
                </a:lnTo>
                <a:lnTo>
                  <a:pt x="497" y="1"/>
                </a:lnTo>
                <a:lnTo>
                  <a:pt x="488" y="0"/>
                </a:lnTo>
                <a:close/>
                <a:moveTo>
                  <a:pt x="1847" y="2564"/>
                </a:moveTo>
                <a:lnTo>
                  <a:pt x="1291" y="1644"/>
                </a:lnTo>
                <a:lnTo>
                  <a:pt x="1779" y="968"/>
                </a:lnTo>
                <a:lnTo>
                  <a:pt x="1784" y="962"/>
                </a:lnTo>
                <a:lnTo>
                  <a:pt x="1789" y="955"/>
                </a:lnTo>
                <a:lnTo>
                  <a:pt x="1792" y="948"/>
                </a:lnTo>
                <a:lnTo>
                  <a:pt x="1794" y="941"/>
                </a:lnTo>
                <a:lnTo>
                  <a:pt x="1797" y="928"/>
                </a:lnTo>
                <a:lnTo>
                  <a:pt x="1798" y="916"/>
                </a:lnTo>
                <a:lnTo>
                  <a:pt x="1798" y="911"/>
                </a:lnTo>
                <a:lnTo>
                  <a:pt x="1797" y="906"/>
                </a:lnTo>
                <a:lnTo>
                  <a:pt x="1796" y="900"/>
                </a:lnTo>
                <a:lnTo>
                  <a:pt x="1794" y="896"/>
                </a:lnTo>
                <a:lnTo>
                  <a:pt x="1792" y="892"/>
                </a:lnTo>
                <a:lnTo>
                  <a:pt x="1789" y="888"/>
                </a:lnTo>
                <a:lnTo>
                  <a:pt x="1785" y="884"/>
                </a:lnTo>
                <a:lnTo>
                  <a:pt x="1781" y="880"/>
                </a:lnTo>
                <a:lnTo>
                  <a:pt x="1777" y="878"/>
                </a:lnTo>
                <a:lnTo>
                  <a:pt x="1773" y="875"/>
                </a:lnTo>
                <a:lnTo>
                  <a:pt x="1767" y="873"/>
                </a:lnTo>
                <a:lnTo>
                  <a:pt x="1761" y="871"/>
                </a:lnTo>
                <a:lnTo>
                  <a:pt x="1748" y="869"/>
                </a:lnTo>
                <a:lnTo>
                  <a:pt x="1734" y="867"/>
                </a:lnTo>
                <a:lnTo>
                  <a:pt x="1451" y="867"/>
                </a:lnTo>
                <a:lnTo>
                  <a:pt x="1329" y="867"/>
                </a:lnTo>
                <a:lnTo>
                  <a:pt x="1241" y="867"/>
                </a:lnTo>
                <a:lnTo>
                  <a:pt x="1101" y="1096"/>
                </a:lnTo>
                <a:lnTo>
                  <a:pt x="1075" y="1135"/>
                </a:lnTo>
                <a:lnTo>
                  <a:pt x="1051" y="1175"/>
                </a:lnTo>
                <a:lnTo>
                  <a:pt x="1026" y="1215"/>
                </a:lnTo>
                <a:lnTo>
                  <a:pt x="1002" y="1254"/>
                </a:lnTo>
                <a:lnTo>
                  <a:pt x="990" y="1273"/>
                </a:lnTo>
                <a:lnTo>
                  <a:pt x="977" y="1294"/>
                </a:lnTo>
                <a:lnTo>
                  <a:pt x="965" y="1314"/>
                </a:lnTo>
                <a:lnTo>
                  <a:pt x="953" y="1334"/>
                </a:lnTo>
                <a:lnTo>
                  <a:pt x="940" y="1354"/>
                </a:lnTo>
                <a:lnTo>
                  <a:pt x="927" y="1373"/>
                </a:lnTo>
                <a:lnTo>
                  <a:pt x="916" y="1394"/>
                </a:lnTo>
                <a:lnTo>
                  <a:pt x="903" y="1414"/>
                </a:lnTo>
                <a:lnTo>
                  <a:pt x="884" y="1446"/>
                </a:lnTo>
                <a:lnTo>
                  <a:pt x="864" y="1477"/>
                </a:lnTo>
                <a:lnTo>
                  <a:pt x="844" y="1508"/>
                </a:lnTo>
                <a:lnTo>
                  <a:pt x="824" y="1540"/>
                </a:lnTo>
                <a:lnTo>
                  <a:pt x="810" y="1562"/>
                </a:lnTo>
                <a:lnTo>
                  <a:pt x="797" y="1586"/>
                </a:lnTo>
                <a:lnTo>
                  <a:pt x="782" y="1608"/>
                </a:lnTo>
                <a:lnTo>
                  <a:pt x="768" y="1631"/>
                </a:lnTo>
                <a:lnTo>
                  <a:pt x="754" y="1653"/>
                </a:lnTo>
                <a:lnTo>
                  <a:pt x="739" y="1675"/>
                </a:lnTo>
                <a:lnTo>
                  <a:pt x="725" y="1699"/>
                </a:lnTo>
                <a:lnTo>
                  <a:pt x="710" y="1721"/>
                </a:lnTo>
                <a:lnTo>
                  <a:pt x="728" y="1750"/>
                </a:lnTo>
                <a:lnTo>
                  <a:pt x="743" y="1779"/>
                </a:lnTo>
                <a:lnTo>
                  <a:pt x="760" y="1808"/>
                </a:lnTo>
                <a:lnTo>
                  <a:pt x="776" y="1838"/>
                </a:lnTo>
                <a:lnTo>
                  <a:pt x="792" y="1866"/>
                </a:lnTo>
                <a:lnTo>
                  <a:pt x="809" y="1896"/>
                </a:lnTo>
                <a:lnTo>
                  <a:pt x="825" y="1925"/>
                </a:lnTo>
                <a:lnTo>
                  <a:pt x="842" y="1955"/>
                </a:lnTo>
                <a:lnTo>
                  <a:pt x="864" y="1993"/>
                </a:lnTo>
                <a:lnTo>
                  <a:pt x="885" y="2031"/>
                </a:lnTo>
                <a:lnTo>
                  <a:pt x="906" y="2069"/>
                </a:lnTo>
                <a:lnTo>
                  <a:pt x="927" y="2108"/>
                </a:lnTo>
                <a:lnTo>
                  <a:pt x="940" y="2131"/>
                </a:lnTo>
                <a:lnTo>
                  <a:pt x="953" y="2153"/>
                </a:lnTo>
                <a:lnTo>
                  <a:pt x="966" y="2176"/>
                </a:lnTo>
                <a:lnTo>
                  <a:pt x="978" y="2198"/>
                </a:lnTo>
                <a:lnTo>
                  <a:pt x="990" y="2221"/>
                </a:lnTo>
                <a:lnTo>
                  <a:pt x="1003" y="2244"/>
                </a:lnTo>
                <a:lnTo>
                  <a:pt x="1016" y="2266"/>
                </a:lnTo>
                <a:lnTo>
                  <a:pt x="1028" y="2288"/>
                </a:lnTo>
                <a:lnTo>
                  <a:pt x="1050" y="2326"/>
                </a:lnTo>
                <a:lnTo>
                  <a:pt x="1070" y="2364"/>
                </a:lnTo>
                <a:lnTo>
                  <a:pt x="1091" y="2401"/>
                </a:lnTo>
                <a:lnTo>
                  <a:pt x="1112" y="2438"/>
                </a:lnTo>
                <a:lnTo>
                  <a:pt x="1254" y="2694"/>
                </a:lnTo>
                <a:lnTo>
                  <a:pt x="1377" y="2694"/>
                </a:lnTo>
                <a:lnTo>
                  <a:pt x="1458" y="2694"/>
                </a:lnTo>
                <a:lnTo>
                  <a:pt x="1798" y="2694"/>
                </a:lnTo>
                <a:lnTo>
                  <a:pt x="1810" y="2694"/>
                </a:lnTo>
                <a:lnTo>
                  <a:pt x="1823" y="2693"/>
                </a:lnTo>
                <a:lnTo>
                  <a:pt x="1836" y="2690"/>
                </a:lnTo>
                <a:lnTo>
                  <a:pt x="1848" y="2686"/>
                </a:lnTo>
                <a:lnTo>
                  <a:pt x="1854" y="2683"/>
                </a:lnTo>
                <a:lnTo>
                  <a:pt x="1860" y="2679"/>
                </a:lnTo>
                <a:lnTo>
                  <a:pt x="1864" y="2675"/>
                </a:lnTo>
                <a:lnTo>
                  <a:pt x="1868" y="2671"/>
                </a:lnTo>
                <a:lnTo>
                  <a:pt x="1871" y="2666"/>
                </a:lnTo>
                <a:lnTo>
                  <a:pt x="1875" y="2659"/>
                </a:lnTo>
                <a:lnTo>
                  <a:pt x="1876" y="2653"/>
                </a:lnTo>
                <a:lnTo>
                  <a:pt x="1877" y="2645"/>
                </a:lnTo>
                <a:lnTo>
                  <a:pt x="1876" y="2635"/>
                </a:lnTo>
                <a:lnTo>
                  <a:pt x="1874" y="2624"/>
                </a:lnTo>
                <a:lnTo>
                  <a:pt x="1871" y="2614"/>
                </a:lnTo>
                <a:lnTo>
                  <a:pt x="1867" y="2603"/>
                </a:lnTo>
                <a:lnTo>
                  <a:pt x="1858" y="2583"/>
                </a:lnTo>
                <a:lnTo>
                  <a:pt x="1847" y="2564"/>
                </a:lnTo>
                <a:close/>
                <a:moveTo>
                  <a:pt x="6777" y="1134"/>
                </a:moveTo>
                <a:lnTo>
                  <a:pt x="6770" y="1119"/>
                </a:lnTo>
                <a:lnTo>
                  <a:pt x="6763" y="1104"/>
                </a:lnTo>
                <a:lnTo>
                  <a:pt x="6754" y="1091"/>
                </a:lnTo>
                <a:lnTo>
                  <a:pt x="6746" y="1076"/>
                </a:lnTo>
                <a:lnTo>
                  <a:pt x="6736" y="1062"/>
                </a:lnTo>
                <a:lnTo>
                  <a:pt x="6727" y="1047"/>
                </a:lnTo>
                <a:lnTo>
                  <a:pt x="6715" y="1033"/>
                </a:lnTo>
                <a:lnTo>
                  <a:pt x="6704" y="1019"/>
                </a:lnTo>
                <a:lnTo>
                  <a:pt x="6692" y="1006"/>
                </a:lnTo>
                <a:lnTo>
                  <a:pt x="6679" y="992"/>
                </a:lnTo>
                <a:lnTo>
                  <a:pt x="6666" y="978"/>
                </a:lnTo>
                <a:lnTo>
                  <a:pt x="6652" y="965"/>
                </a:lnTo>
                <a:lnTo>
                  <a:pt x="6637" y="952"/>
                </a:lnTo>
                <a:lnTo>
                  <a:pt x="6621" y="940"/>
                </a:lnTo>
                <a:lnTo>
                  <a:pt x="6606" y="928"/>
                </a:lnTo>
                <a:lnTo>
                  <a:pt x="6589" y="916"/>
                </a:lnTo>
                <a:lnTo>
                  <a:pt x="6571" y="906"/>
                </a:lnTo>
                <a:lnTo>
                  <a:pt x="6553" y="895"/>
                </a:lnTo>
                <a:lnTo>
                  <a:pt x="6534" y="884"/>
                </a:lnTo>
                <a:lnTo>
                  <a:pt x="6515" y="875"/>
                </a:lnTo>
                <a:lnTo>
                  <a:pt x="6495" y="866"/>
                </a:lnTo>
                <a:lnTo>
                  <a:pt x="6475" y="858"/>
                </a:lnTo>
                <a:lnTo>
                  <a:pt x="6453" y="850"/>
                </a:lnTo>
                <a:lnTo>
                  <a:pt x="6431" y="843"/>
                </a:lnTo>
                <a:lnTo>
                  <a:pt x="6409" y="837"/>
                </a:lnTo>
                <a:lnTo>
                  <a:pt x="6385" y="831"/>
                </a:lnTo>
                <a:lnTo>
                  <a:pt x="6361" y="826"/>
                </a:lnTo>
                <a:lnTo>
                  <a:pt x="6337" y="823"/>
                </a:lnTo>
                <a:lnTo>
                  <a:pt x="6312" y="819"/>
                </a:lnTo>
                <a:lnTo>
                  <a:pt x="6286" y="816"/>
                </a:lnTo>
                <a:lnTo>
                  <a:pt x="6259" y="815"/>
                </a:lnTo>
                <a:lnTo>
                  <a:pt x="6232" y="815"/>
                </a:lnTo>
                <a:lnTo>
                  <a:pt x="6188" y="815"/>
                </a:lnTo>
                <a:lnTo>
                  <a:pt x="6143" y="819"/>
                </a:lnTo>
                <a:lnTo>
                  <a:pt x="6098" y="824"/>
                </a:lnTo>
                <a:lnTo>
                  <a:pt x="6054" y="830"/>
                </a:lnTo>
                <a:lnTo>
                  <a:pt x="6010" y="839"/>
                </a:lnTo>
                <a:lnTo>
                  <a:pt x="5967" y="850"/>
                </a:lnTo>
                <a:lnTo>
                  <a:pt x="5923" y="862"/>
                </a:lnTo>
                <a:lnTo>
                  <a:pt x="5880" y="877"/>
                </a:lnTo>
                <a:lnTo>
                  <a:pt x="5859" y="886"/>
                </a:lnTo>
                <a:lnTo>
                  <a:pt x="5839" y="894"/>
                </a:lnTo>
                <a:lnTo>
                  <a:pt x="5818" y="903"/>
                </a:lnTo>
                <a:lnTo>
                  <a:pt x="5798" y="912"/>
                </a:lnTo>
                <a:lnTo>
                  <a:pt x="5777" y="923"/>
                </a:lnTo>
                <a:lnTo>
                  <a:pt x="5758" y="933"/>
                </a:lnTo>
                <a:lnTo>
                  <a:pt x="5738" y="944"/>
                </a:lnTo>
                <a:lnTo>
                  <a:pt x="5719" y="956"/>
                </a:lnTo>
                <a:lnTo>
                  <a:pt x="5701" y="967"/>
                </a:lnTo>
                <a:lnTo>
                  <a:pt x="5682" y="980"/>
                </a:lnTo>
                <a:lnTo>
                  <a:pt x="5664" y="994"/>
                </a:lnTo>
                <a:lnTo>
                  <a:pt x="5646" y="1007"/>
                </a:lnTo>
                <a:lnTo>
                  <a:pt x="5629" y="1022"/>
                </a:lnTo>
                <a:lnTo>
                  <a:pt x="5611" y="1035"/>
                </a:lnTo>
                <a:lnTo>
                  <a:pt x="5596" y="1050"/>
                </a:lnTo>
                <a:lnTo>
                  <a:pt x="5579" y="1066"/>
                </a:lnTo>
                <a:lnTo>
                  <a:pt x="5564" y="1043"/>
                </a:lnTo>
                <a:lnTo>
                  <a:pt x="5547" y="1018"/>
                </a:lnTo>
                <a:lnTo>
                  <a:pt x="5528" y="996"/>
                </a:lnTo>
                <a:lnTo>
                  <a:pt x="5508" y="973"/>
                </a:lnTo>
                <a:lnTo>
                  <a:pt x="5486" y="951"/>
                </a:lnTo>
                <a:lnTo>
                  <a:pt x="5463" y="930"/>
                </a:lnTo>
                <a:lnTo>
                  <a:pt x="5450" y="921"/>
                </a:lnTo>
                <a:lnTo>
                  <a:pt x="5437" y="911"/>
                </a:lnTo>
                <a:lnTo>
                  <a:pt x="5423" y="901"/>
                </a:lnTo>
                <a:lnTo>
                  <a:pt x="5410" y="893"/>
                </a:lnTo>
                <a:lnTo>
                  <a:pt x="5395" y="884"/>
                </a:lnTo>
                <a:lnTo>
                  <a:pt x="5380" y="876"/>
                </a:lnTo>
                <a:lnTo>
                  <a:pt x="5364" y="869"/>
                </a:lnTo>
                <a:lnTo>
                  <a:pt x="5348" y="861"/>
                </a:lnTo>
                <a:lnTo>
                  <a:pt x="5332" y="854"/>
                </a:lnTo>
                <a:lnTo>
                  <a:pt x="5314" y="847"/>
                </a:lnTo>
                <a:lnTo>
                  <a:pt x="5297" y="842"/>
                </a:lnTo>
                <a:lnTo>
                  <a:pt x="5279" y="837"/>
                </a:lnTo>
                <a:lnTo>
                  <a:pt x="5260" y="831"/>
                </a:lnTo>
                <a:lnTo>
                  <a:pt x="5239" y="827"/>
                </a:lnTo>
                <a:lnTo>
                  <a:pt x="5220" y="824"/>
                </a:lnTo>
                <a:lnTo>
                  <a:pt x="5199" y="821"/>
                </a:lnTo>
                <a:lnTo>
                  <a:pt x="5178" y="819"/>
                </a:lnTo>
                <a:lnTo>
                  <a:pt x="5155" y="816"/>
                </a:lnTo>
                <a:lnTo>
                  <a:pt x="5133" y="815"/>
                </a:lnTo>
                <a:lnTo>
                  <a:pt x="5110" y="815"/>
                </a:lnTo>
                <a:lnTo>
                  <a:pt x="5074" y="815"/>
                </a:lnTo>
                <a:lnTo>
                  <a:pt x="5038" y="819"/>
                </a:lnTo>
                <a:lnTo>
                  <a:pt x="5002" y="823"/>
                </a:lnTo>
                <a:lnTo>
                  <a:pt x="4966" y="828"/>
                </a:lnTo>
                <a:lnTo>
                  <a:pt x="4931" y="837"/>
                </a:lnTo>
                <a:lnTo>
                  <a:pt x="4896" y="845"/>
                </a:lnTo>
                <a:lnTo>
                  <a:pt x="4861" y="856"/>
                </a:lnTo>
                <a:lnTo>
                  <a:pt x="4826" y="869"/>
                </a:lnTo>
                <a:lnTo>
                  <a:pt x="4792" y="882"/>
                </a:lnTo>
                <a:lnTo>
                  <a:pt x="4759" y="897"/>
                </a:lnTo>
                <a:lnTo>
                  <a:pt x="4726" y="914"/>
                </a:lnTo>
                <a:lnTo>
                  <a:pt x="4694" y="932"/>
                </a:lnTo>
                <a:lnTo>
                  <a:pt x="4662" y="951"/>
                </a:lnTo>
                <a:lnTo>
                  <a:pt x="4631" y="973"/>
                </a:lnTo>
                <a:lnTo>
                  <a:pt x="4602" y="994"/>
                </a:lnTo>
                <a:lnTo>
                  <a:pt x="4573" y="1017"/>
                </a:lnTo>
                <a:lnTo>
                  <a:pt x="4565" y="946"/>
                </a:lnTo>
                <a:lnTo>
                  <a:pt x="4564" y="937"/>
                </a:lnTo>
                <a:lnTo>
                  <a:pt x="4561" y="927"/>
                </a:lnTo>
                <a:lnTo>
                  <a:pt x="4558" y="918"/>
                </a:lnTo>
                <a:lnTo>
                  <a:pt x="4555" y="910"/>
                </a:lnTo>
                <a:lnTo>
                  <a:pt x="4549" y="903"/>
                </a:lnTo>
                <a:lnTo>
                  <a:pt x="4545" y="896"/>
                </a:lnTo>
                <a:lnTo>
                  <a:pt x="4539" y="891"/>
                </a:lnTo>
                <a:lnTo>
                  <a:pt x="4532" y="886"/>
                </a:lnTo>
                <a:lnTo>
                  <a:pt x="4525" y="881"/>
                </a:lnTo>
                <a:lnTo>
                  <a:pt x="4518" y="877"/>
                </a:lnTo>
                <a:lnTo>
                  <a:pt x="4509" y="875"/>
                </a:lnTo>
                <a:lnTo>
                  <a:pt x="4499" y="872"/>
                </a:lnTo>
                <a:lnTo>
                  <a:pt x="4490" y="870"/>
                </a:lnTo>
                <a:lnTo>
                  <a:pt x="4479" y="869"/>
                </a:lnTo>
                <a:lnTo>
                  <a:pt x="4469" y="867"/>
                </a:lnTo>
                <a:lnTo>
                  <a:pt x="4457" y="867"/>
                </a:lnTo>
                <a:lnTo>
                  <a:pt x="4249" y="867"/>
                </a:lnTo>
                <a:lnTo>
                  <a:pt x="4149" y="867"/>
                </a:lnTo>
                <a:lnTo>
                  <a:pt x="4043" y="867"/>
                </a:lnTo>
                <a:lnTo>
                  <a:pt x="4043" y="965"/>
                </a:lnTo>
                <a:lnTo>
                  <a:pt x="4043" y="1126"/>
                </a:lnTo>
                <a:lnTo>
                  <a:pt x="4043" y="2203"/>
                </a:lnTo>
                <a:lnTo>
                  <a:pt x="4043" y="2346"/>
                </a:lnTo>
                <a:lnTo>
                  <a:pt x="4043" y="2586"/>
                </a:lnTo>
                <a:lnTo>
                  <a:pt x="4043" y="2694"/>
                </a:lnTo>
                <a:lnTo>
                  <a:pt x="4160" y="2694"/>
                </a:lnTo>
                <a:lnTo>
                  <a:pt x="4276" y="2694"/>
                </a:lnTo>
                <a:lnTo>
                  <a:pt x="4498" y="2694"/>
                </a:lnTo>
                <a:lnTo>
                  <a:pt x="4512" y="2694"/>
                </a:lnTo>
                <a:lnTo>
                  <a:pt x="4524" y="2693"/>
                </a:lnTo>
                <a:lnTo>
                  <a:pt x="4536" y="2691"/>
                </a:lnTo>
                <a:lnTo>
                  <a:pt x="4547" y="2689"/>
                </a:lnTo>
                <a:lnTo>
                  <a:pt x="4557" y="2685"/>
                </a:lnTo>
                <a:lnTo>
                  <a:pt x="4565" y="2680"/>
                </a:lnTo>
                <a:lnTo>
                  <a:pt x="4574" y="2676"/>
                </a:lnTo>
                <a:lnTo>
                  <a:pt x="4580" y="2670"/>
                </a:lnTo>
                <a:lnTo>
                  <a:pt x="4587" y="2662"/>
                </a:lnTo>
                <a:lnTo>
                  <a:pt x="4592" y="2655"/>
                </a:lnTo>
                <a:lnTo>
                  <a:pt x="4597" y="2646"/>
                </a:lnTo>
                <a:lnTo>
                  <a:pt x="4600" y="2636"/>
                </a:lnTo>
                <a:lnTo>
                  <a:pt x="4604" y="2625"/>
                </a:lnTo>
                <a:lnTo>
                  <a:pt x="4606" y="2614"/>
                </a:lnTo>
                <a:lnTo>
                  <a:pt x="4607" y="2600"/>
                </a:lnTo>
                <a:lnTo>
                  <a:pt x="4607" y="2586"/>
                </a:lnTo>
                <a:lnTo>
                  <a:pt x="4607" y="2203"/>
                </a:lnTo>
                <a:lnTo>
                  <a:pt x="4607" y="1468"/>
                </a:lnTo>
                <a:lnTo>
                  <a:pt x="4627" y="1451"/>
                </a:lnTo>
                <a:lnTo>
                  <a:pt x="4647" y="1434"/>
                </a:lnTo>
                <a:lnTo>
                  <a:pt x="4669" y="1418"/>
                </a:lnTo>
                <a:lnTo>
                  <a:pt x="4690" y="1403"/>
                </a:lnTo>
                <a:lnTo>
                  <a:pt x="4711" y="1389"/>
                </a:lnTo>
                <a:lnTo>
                  <a:pt x="4733" y="1377"/>
                </a:lnTo>
                <a:lnTo>
                  <a:pt x="4756" y="1365"/>
                </a:lnTo>
                <a:lnTo>
                  <a:pt x="4778" y="1354"/>
                </a:lnTo>
                <a:lnTo>
                  <a:pt x="4801" y="1344"/>
                </a:lnTo>
                <a:lnTo>
                  <a:pt x="4824" y="1335"/>
                </a:lnTo>
                <a:lnTo>
                  <a:pt x="4847" y="1328"/>
                </a:lnTo>
                <a:lnTo>
                  <a:pt x="4870" y="1321"/>
                </a:lnTo>
                <a:lnTo>
                  <a:pt x="4894" y="1317"/>
                </a:lnTo>
                <a:lnTo>
                  <a:pt x="4917" y="1313"/>
                </a:lnTo>
                <a:lnTo>
                  <a:pt x="4941" y="1311"/>
                </a:lnTo>
                <a:lnTo>
                  <a:pt x="4964" y="1311"/>
                </a:lnTo>
                <a:lnTo>
                  <a:pt x="4979" y="1311"/>
                </a:lnTo>
                <a:lnTo>
                  <a:pt x="4994" y="1312"/>
                </a:lnTo>
                <a:lnTo>
                  <a:pt x="5008" y="1313"/>
                </a:lnTo>
                <a:lnTo>
                  <a:pt x="5020" y="1316"/>
                </a:lnTo>
                <a:lnTo>
                  <a:pt x="5033" y="1318"/>
                </a:lnTo>
                <a:lnTo>
                  <a:pt x="5045" y="1322"/>
                </a:lnTo>
                <a:lnTo>
                  <a:pt x="5057" y="1327"/>
                </a:lnTo>
                <a:lnTo>
                  <a:pt x="5066" y="1331"/>
                </a:lnTo>
                <a:lnTo>
                  <a:pt x="5077" y="1336"/>
                </a:lnTo>
                <a:lnTo>
                  <a:pt x="5085" y="1342"/>
                </a:lnTo>
                <a:lnTo>
                  <a:pt x="5094" y="1349"/>
                </a:lnTo>
                <a:lnTo>
                  <a:pt x="5102" y="1356"/>
                </a:lnTo>
                <a:lnTo>
                  <a:pt x="5110" y="1364"/>
                </a:lnTo>
                <a:lnTo>
                  <a:pt x="5116" y="1371"/>
                </a:lnTo>
                <a:lnTo>
                  <a:pt x="5122" y="1380"/>
                </a:lnTo>
                <a:lnTo>
                  <a:pt x="5128" y="1389"/>
                </a:lnTo>
                <a:lnTo>
                  <a:pt x="5133" y="1398"/>
                </a:lnTo>
                <a:lnTo>
                  <a:pt x="5138" y="1408"/>
                </a:lnTo>
                <a:lnTo>
                  <a:pt x="5143" y="1418"/>
                </a:lnTo>
                <a:lnTo>
                  <a:pt x="5147" y="1429"/>
                </a:lnTo>
                <a:lnTo>
                  <a:pt x="5153" y="1451"/>
                </a:lnTo>
                <a:lnTo>
                  <a:pt x="5159" y="1474"/>
                </a:lnTo>
                <a:lnTo>
                  <a:pt x="5162" y="1500"/>
                </a:lnTo>
                <a:lnTo>
                  <a:pt x="5164" y="1525"/>
                </a:lnTo>
                <a:lnTo>
                  <a:pt x="5166" y="1553"/>
                </a:lnTo>
                <a:lnTo>
                  <a:pt x="5166" y="1581"/>
                </a:lnTo>
                <a:lnTo>
                  <a:pt x="5166" y="2203"/>
                </a:lnTo>
                <a:lnTo>
                  <a:pt x="5166" y="2319"/>
                </a:lnTo>
                <a:lnTo>
                  <a:pt x="5166" y="2586"/>
                </a:lnTo>
                <a:lnTo>
                  <a:pt x="5166" y="2694"/>
                </a:lnTo>
                <a:lnTo>
                  <a:pt x="5283" y="2694"/>
                </a:lnTo>
                <a:lnTo>
                  <a:pt x="5420" y="2694"/>
                </a:lnTo>
                <a:lnTo>
                  <a:pt x="5590" y="2694"/>
                </a:lnTo>
                <a:lnTo>
                  <a:pt x="5604" y="2694"/>
                </a:lnTo>
                <a:lnTo>
                  <a:pt x="5617" y="2693"/>
                </a:lnTo>
                <a:lnTo>
                  <a:pt x="5629" y="2691"/>
                </a:lnTo>
                <a:lnTo>
                  <a:pt x="5639" y="2689"/>
                </a:lnTo>
                <a:lnTo>
                  <a:pt x="5649" y="2685"/>
                </a:lnTo>
                <a:lnTo>
                  <a:pt x="5658" y="2680"/>
                </a:lnTo>
                <a:lnTo>
                  <a:pt x="5666" y="2676"/>
                </a:lnTo>
                <a:lnTo>
                  <a:pt x="5673" y="2670"/>
                </a:lnTo>
                <a:lnTo>
                  <a:pt x="5680" y="2662"/>
                </a:lnTo>
                <a:lnTo>
                  <a:pt x="5685" y="2655"/>
                </a:lnTo>
                <a:lnTo>
                  <a:pt x="5689" y="2646"/>
                </a:lnTo>
                <a:lnTo>
                  <a:pt x="5692" y="2636"/>
                </a:lnTo>
                <a:lnTo>
                  <a:pt x="5695" y="2625"/>
                </a:lnTo>
                <a:lnTo>
                  <a:pt x="5698" y="2614"/>
                </a:lnTo>
                <a:lnTo>
                  <a:pt x="5699" y="2600"/>
                </a:lnTo>
                <a:lnTo>
                  <a:pt x="5700" y="2586"/>
                </a:lnTo>
                <a:lnTo>
                  <a:pt x="5700" y="2203"/>
                </a:lnTo>
                <a:lnTo>
                  <a:pt x="5700" y="1468"/>
                </a:lnTo>
                <a:lnTo>
                  <a:pt x="5719" y="1452"/>
                </a:lnTo>
                <a:lnTo>
                  <a:pt x="5739" y="1436"/>
                </a:lnTo>
                <a:lnTo>
                  <a:pt x="5761" y="1421"/>
                </a:lnTo>
                <a:lnTo>
                  <a:pt x="5784" y="1406"/>
                </a:lnTo>
                <a:lnTo>
                  <a:pt x="5807" y="1392"/>
                </a:lnTo>
                <a:lnTo>
                  <a:pt x="5832" y="1380"/>
                </a:lnTo>
                <a:lnTo>
                  <a:pt x="5856" y="1368"/>
                </a:lnTo>
                <a:lnTo>
                  <a:pt x="5882" y="1356"/>
                </a:lnTo>
                <a:lnTo>
                  <a:pt x="5907" y="1347"/>
                </a:lnTo>
                <a:lnTo>
                  <a:pt x="5933" y="1337"/>
                </a:lnTo>
                <a:lnTo>
                  <a:pt x="5958" y="1330"/>
                </a:lnTo>
                <a:lnTo>
                  <a:pt x="5985" y="1322"/>
                </a:lnTo>
                <a:lnTo>
                  <a:pt x="6010" y="1317"/>
                </a:lnTo>
                <a:lnTo>
                  <a:pt x="6036" y="1314"/>
                </a:lnTo>
                <a:lnTo>
                  <a:pt x="6061" y="1311"/>
                </a:lnTo>
                <a:lnTo>
                  <a:pt x="6086" y="1311"/>
                </a:lnTo>
                <a:lnTo>
                  <a:pt x="6102" y="1311"/>
                </a:lnTo>
                <a:lnTo>
                  <a:pt x="6116" y="1312"/>
                </a:lnTo>
                <a:lnTo>
                  <a:pt x="6130" y="1313"/>
                </a:lnTo>
                <a:lnTo>
                  <a:pt x="6143" y="1316"/>
                </a:lnTo>
                <a:lnTo>
                  <a:pt x="6156" y="1318"/>
                </a:lnTo>
                <a:lnTo>
                  <a:pt x="6168" y="1322"/>
                </a:lnTo>
                <a:lnTo>
                  <a:pt x="6178" y="1327"/>
                </a:lnTo>
                <a:lnTo>
                  <a:pt x="6189" y="1331"/>
                </a:lnTo>
                <a:lnTo>
                  <a:pt x="6198" y="1336"/>
                </a:lnTo>
                <a:lnTo>
                  <a:pt x="6208" y="1342"/>
                </a:lnTo>
                <a:lnTo>
                  <a:pt x="6216" y="1349"/>
                </a:lnTo>
                <a:lnTo>
                  <a:pt x="6224" y="1356"/>
                </a:lnTo>
                <a:lnTo>
                  <a:pt x="6231" y="1364"/>
                </a:lnTo>
                <a:lnTo>
                  <a:pt x="6239" y="1371"/>
                </a:lnTo>
                <a:lnTo>
                  <a:pt x="6245" y="1380"/>
                </a:lnTo>
                <a:lnTo>
                  <a:pt x="6250" y="1389"/>
                </a:lnTo>
                <a:lnTo>
                  <a:pt x="6256" y="1398"/>
                </a:lnTo>
                <a:lnTo>
                  <a:pt x="6261" y="1408"/>
                </a:lnTo>
                <a:lnTo>
                  <a:pt x="6265" y="1418"/>
                </a:lnTo>
                <a:lnTo>
                  <a:pt x="6269" y="1429"/>
                </a:lnTo>
                <a:lnTo>
                  <a:pt x="6276" y="1451"/>
                </a:lnTo>
                <a:lnTo>
                  <a:pt x="6280" y="1474"/>
                </a:lnTo>
                <a:lnTo>
                  <a:pt x="6284" y="1500"/>
                </a:lnTo>
                <a:lnTo>
                  <a:pt x="6287" y="1525"/>
                </a:lnTo>
                <a:lnTo>
                  <a:pt x="6288" y="1553"/>
                </a:lnTo>
                <a:lnTo>
                  <a:pt x="6289" y="1581"/>
                </a:lnTo>
                <a:lnTo>
                  <a:pt x="6289" y="2203"/>
                </a:lnTo>
                <a:lnTo>
                  <a:pt x="6289" y="2211"/>
                </a:lnTo>
                <a:lnTo>
                  <a:pt x="6289" y="2586"/>
                </a:lnTo>
                <a:lnTo>
                  <a:pt x="6289" y="2694"/>
                </a:lnTo>
                <a:lnTo>
                  <a:pt x="6405" y="2694"/>
                </a:lnTo>
                <a:lnTo>
                  <a:pt x="6635" y="2694"/>
                </a:lnTo>
                <a:lnTo>
                  <a:pt x="6743" y="2694"/>
                </a:lnTo>
                <a:lnTo>
                  <a:pt x="6756" y="2694"/>
                </a:lnTo>
                <a:lnTo>
                  <a:pt x="6769" y="2693"/>
                </a:lnTo>
                <a:lnTo>
                  <a:pt x="6781" y="2691"/>
                </a:lnTo>
                <a:lnTo>
                  <a:pt x="6792" y="2689"/>
                </a:lnTo>
                <a:lnTo>
                  <a:pt x="6801" y="2685"/>
                </a:lnTo>
                <a:lnTo>
                  <a:pt x="6810" y="2680"/>
                </a:lnTo>
                <a:lnTo>
                  <a:pt x="6818" y="2676"/>
                </a:lnTo>
                <a:lnTo>
                  <a:pt x="6826" y="2670"/>
                </a:lnTo>
                <a:lnTo>
                  <a:pt x="6832" y="2662"/>
                </a:lnTo>
                <a:lnTo>
                  <a:pt x="6837" y="2655"/>
                </a:lnTo>
                <a:lnTo>
                  <a:pt x="6842" y="2646"/>
                </a:lnTo>
                <a:lnTo>
                  <a:pt x="6845" y="2636"/>
                </a:lnTo>
                <a:lnTo>
                  <a:pt x="6848" y="2625"/>
                </a:lnTo>
                <a:lnTo>
                  <a:pt x="6850" y="2614"/>
                </a:lnTo>
                <a:lnTo>
                  <a:pt x="6851" y="2600"/>
                </a:lnTo>
                <a:lnTo>
                  <a:pt x="6852" y="2586"/>
                </a:lnTo>
                <a:lnTo>
                  <a:pt x="6852" y="2203"/>
                </a:lnTo>
                <a:lnTo>
                  <a:pt x="6852" y="1719"/>
                </a:lnTo>
                <a:lnTo>
                  <a:pt x="6851" y="1624"/>
                </a:lnTo>
                <a:lnTo>
                  <a:pt x="6849" y="1536"/>
                </a:lnTo>
                <a:lnTo>
                  <a:pt x="6848" y="1496"/>
                </a:lnTo>
                <a:lnTo>
                  <a:pt x="6846" y="1456"/>
                </a:lnTo>
                <a:lnTo>
                  <a:pt x="6843" y="1419"/>
                </a:lnTo>
                <a:lnTo>
                  <a:pt x="6839" y="1383"/>
                </a:lnTo>
                <a:lnTo>
                  <a:pt x="6835" y="1348"/>
                </a:lnTo>
                <a:lnTo>
                  <a:pt x="6830" y="1315"/>
                </a:lnTo>
                <a:lnTo>
                  <a:pt x="6823" y="1282"/>
                </a:lnTo>
                <a:lnTo>
                  <a:pt x="6817" y="1251"/>
                </a:lnTo>
                <a:lnTo>
                  <a:pt x="6809" y="1220"/>
                </a:lnTo>
                <a:lnTo>
                  <a:pt x="6799" y="1192"/>
                </a:lnTo>
                <a:lnTo>
                  <a:pt x="6788" y="1162"/>
                </a:lnTo>
                <a:lnTo>
                  <a:pt x="6777" y="1134"/>
                </a:lnTo>
                <a:close/>
                <a:moveTo>
                  <a:pt x="8813" y="1960"/>
                </a:moveTo>
                <a:lnTo>
                  <a:pt x="8814" y="2068"/>
                </a:lnTo>
                <a:lnTo>
                  <a:pt x="8816" y="2164"/>
                </a:lnTo>
                <a:lnTo>
                  <a:pt x="8818" y="2208"/>
                </a:lnTo>
                <a:lnTo>
                  <a:pt x="8821" y="2248"/>
                </a:lnTo>
                <a:lnTo>
                  <a:pt x="8825" y="2287"/>
                </a:lnTo>
                <a:lnTo>
                  <a:pt x="8832" y="2323"/>
                </a:lnTo>
                <a:lnTo>
                  <a:pt x="8838" y="2358"/>
                </a:lnTo>
                <a:lnTo>
                  <a:pt x="8847" y="2391"/>
                </a:lnTo>
                <a:lnTo>
                  <a:pt x="8852" y="2407"/>
                </a:lnTo>
                <a:lnTo>
                  <a:pt x="8857" y="2422"/>
                </a:lnTo>
                <a:lnTo>
                  <a:pt x="8864" y="2437"/>
                </a:lnTo>
                <a:lnTo>
                  <a:pt x="8870" y="2452"/>
                </a:lnTo>
                <a:lnTo>
                  <a:pt x="8876" y="2467"/>
                </a:lnTo>
                <a:lnTo>
                  <a:pt x="8884" y="2482"/>
                </a:lnTo>
                <a:lnTo>
                  <a:pt x="8891" y="2496"/>
                </a:lnTo>
                <a:lnTo>
                  <a:pt x="8900" y="2509"/>
                </a:lnTo>
                <a:lnTo>
                  <a:pt x="8909" y="2523"/>
                </a:lnTo>
                <a:lnTo>
                  <a:pt x="8919" y="2537"/>
                </a:lnTo>
                <a:lnTo>
                  <a:pt x="8930" y="2550"/>
                </a:lnTo>
                <a:lnTo>
                  <a:pt x="8940" y="2564"/>
                </a:lnTo>
                <a:lnTo>
                  <a:pt x="8950" y="2574"/>
                </a:lnTo>
                <a:lnTo>
                  <a:pt x="8960" y="2585"/>
                </a:lnTo>
                <a:lnTo>
                  <a:pt x="8970" y="2595"/>
                </a:lnTo>
                <a:lnTo>
                  <a:pt x="8982" y="2605"/>
                </a:lnTo>
                <a:lnTo>
                  <a:pt x="8992" y="2615"/>
                </a:lnTo>
                <a:lnTo>
                  <a:pt x="9004" y="2624"/>
                </a:lnTo>
                <a:lnTo>
                  <a:pt x="9016" y="2633"/>
                </a:lnTo>
                <a:lnTo>
                  <a:pt x="9028" y="2641"/>
                </a:lnTo>
                <a:lnTo>
                  <a:pt x="9054" y="2656"/>
                </a:lnTo>
                <a:lnTo>
                  <a:pt x="9082" y="2670"/>
                </a:lnTo>
                <a:lnTo>
                  <a:pt x="9110" y="2683"/>
                </a:lnTo>
                <a:lnTo>
                  <a:pt x="9140" y="2693"/>
                </a:lnTo>
                <a:lnTo>
                  <a:pt x="9171" y="2703"/>
                </a:lnTo>
                <a:lnTo>
                  <a:pt x="9203" y="2710"/>
                </a:lnTo>
                <a:lnTo>
                  <a:pt x="9237" y="2718"/>
                </a:lnTo>
                <a:lnTo>
                  <a:pt x="9271" y="2723"/>
                </a:lnTo>
                <a:lnTo>
                  <a:pt x="9307" y="2727"/>
                </a:lnTo>
                <a:lnTo>
                  <a:pt x="9344" y="2730"/>
                </a:lnTo>
                <a:lnTo>
                  <a:pt x="9381" y="2732"/>
                </a:lnTo>
                <a:lnTo>
                  <a:pt x="9421" y="2733"/>
                </a:lnTo>
                <a:lnTo>
                  <a:pt x="9453" y="2733"/>
                </a:lnTo>
                <a:lnTo>
                  <a:pt x="9484" y="2730"/>
                </a:lnTo>
                <a:lnTo>
                  <a:pt x="9516" y="2729"/>
                </a:lnTo>
                <a:lnTo>
                  <a:pt x="9548" y="2726"/>
                </a:lnTo>
                <a:lnTo>
                  <a:pt x="9580" y="2723"/>
                </a:lnTo>
                <a:lnTo>
                  <a:pt x="9611" y="2719"/>
                </a:lnTo>
                <a:lnTo>
                  <a:pt x="9642" y="2713"/>
                </a:lnTo>
                <a:lnTo>
                  <a:pt x="9673" y="2708"/>
                </a:lnTo>
                <a:lnTo>
                  <a:pt x="9702" y="2701"/>
                </a:lnTo>
                <a:lnTo>
                  <a:pt x="9732" y="2694"/>
                </a:lnTo>
                <a:lnTo>
                  <a:pt x="9761" y="2686"/>
                </a:lnTo>
                <a:lnTo>
                  <a:pt x="9791" y="2677"/>
                </a:lnTo>
                <a:lnTo>
                  <a:pt x="9818" y="2668"/>
                </a:lnTo>
                <a:lnTo>
                  <a:pt x="9847" y="2657"/>
                </a:lnTo>
                <a:lnTo>
                  <a:pt x="9874" y="2646"/>
                </a:lnTo>
                <a:lnTo>
                  <a:pt x="9901" y="2635"/>
                </a:lnTo>
                <a:lnTo>
                  <a:pt x="9915" y="2628"/>
                </a:lnTo>
                <a:lnTo>
                  <a:pt x="9928" y="2621"/>
                </a:lnTo>
                <a:lnTo>
                  <a:pt x="9938" y="2612"/>
                </a:lnTo>
                <a:lnTo>
                  <a:pt x="9947" y="2604"/>
                </a:lnTo>
                <a:lnTo>
                  <a:pt x="9950" y="2600"/>
                </a:lnTo>
                <a:lnTo>
                  <a:pt x="9953" y="2594"/>
                </a:lnTo>
                <a:lnTo>
                  <a:pt x="9955" y="2589"/>
                </a:lnTo>
                <a:lnTo>
                  <a:pt x="9958" y="2584"/>
                </a:lnTo>
                <a:lnTo>
                  <a:pt x="9961" y="2571"/>
                </a:lnTo>
                <a:lnTo>
                  <a:pt x="9961" y="2556"/>
                </a:lnTo>
                <a:lnTo>
                  <a:pt x="9961" y="2548"/>
                </a:lnTo>
                <a:lnTo>
                  <a:pt x="9961" y="2539"/>
                </a:lnTo>
                <a:lnTo>
                  <a:pt x="9960" y="2531"/>
                </a:lnTo>
                <a:lnTo>
                  <a:pt x="9958" y="2522"/>
                </a:lnTo>
                <a:lnTo>
                  <a:pt x="9912" y="2282"/>
                </a:lnTo>
                <a:lnTo>
                  <a:pt x="9909" y="2270"/>
                </a:lnTo>
                <a:lnTo>
                  <a:pt x="9905" y="2260"/>
                </a:lnTo>
                <a:lnTo>
                  <a:pt x="9900" y="2251"/>
                </a:lnTo>
                <a:lnTo>
                  <a:pt x="9895" y="2244"/>
                </a:lnTo>
                <a:lnTo>
                  <a:pt x="9887" y="2237"/>
                </a:lnTo>
                <a:lnTo>
                  <a:pt x="9880" y="2233"/>
                </a:lnTo>
                <a:lnTo>
                  <a:pt x="9870" y="2231"/>
                </a:lnTo>
                <a:lnTo>
                  <a:pt x="9860" y="2230"/>
                </a:lnTo>
                <a:lnTo>
                  <a:pt x="9848" y="2231"/>
                </a:lnTo>
                <a:lnTo>
                  <a:pt x="9836" y="2233"/>
                </a:lnTo>
                <a:lnTo>
                  <a:pt x="9823" y="2236"/>
                </a:lnTo>
                <a:lnTo>
                  <a:pt x="9808" y="2241"/>
                </a:lnTo>
                <a:lnTo>
                  <a:pt x="9779" y="2249"/>
                </a:lnTo>
                <a:lnTo>
                  <a:pt x="9751" y="2258"/>
                </a:lnTo>
                <a:lnTo>
                  <a:pt x="9723" y="2265"/>
                </a:lnTo>
                <a:lnTo>
                  <a:pt x="9694" y="2272"/>
                </a:lnTo>
                <a:lnTo>
                  <a:pt x="9664" y="2278"/>
                </a:lnTo>
                <a:lnTo>
                  <a:pt x="9633" y="2282"/>
                </a:lnTo>
                <a:lnTo>
                  <a:pt x="9601" y="2285"/>
                </a:lnTo>
                <a:lnTo>
                  <a:pt x="9567" y="2286"/>
                </a:lnTo>
                <a:lnTo>
                  <a:pt x="9551" y="2285"/>
                </a:lnTo>
                <a:lnTo>
                  <a:pt x="9538" y="2285"/>
                </a:lnTo>
                <a:lnTo>
                  <a:pt x="9524" y="2283"/>
                </a:lnTo>
                <a:lnTo>
                  <a:pt x="9511" y="2281"/>
                </a:lnTo>
                <a:lnTo>
                  <a:pt x="9499" y="2278"/>
                </a:lnTo>
                <a:lnTo>
                  <a:pt x="9488" y="2273"/>
                </a:lnTo>
                <a:lnTo>
                  <a:pt x="9477" y="2269"/>
                </a:lnTo>
                <a:lnTo>
                  <a:pt x="9467" y="2264"/>
                </a:lnTo>
                <a:lnTo>
                  <a:pt x="9458" y="2259"/>
                </a:lnTo>
                <a:lnTo>
                  <a:pt x="9449" y="2252"/>
                </a:lnTo>
                <a:lnTo>
                  <a:pt x="9441" y="2245"/>
                </a:lnTo>
                <a:lnTo>
                  <a:pt x="9433" y="2237"/>
                </a:lnTo>
                <a:lnTo>
                  <a:pt x="9427" y="2230"/>
                </a:lnTo>
                <a:lnTo>
                  <a:pt x="9421" y="2220"/>
                </a:lnTo>
                <a:lnTo>
                  <a:pt x="9414" y="2212"/>
                </a:lnTo>
                <a:lnTo>
                  <a:pt x="9409" y="2201"/>
                </a:lnTo>
                <a:lnTo>
                  <a:pt x="9405" y="2192"/>
                </a:lnTo>
                <a:lnTo>
                  <a:pt x="9400" y="2180"/>
                </a:lnTo>
                <a:lnTo>
                  <a:pt x="9396" y="2168"/>
                </a:lnTo>
                <a:lnTo>
                  <a:pt x="9393" y="2157"/>
                </a:lnTo>
                <a:lnTo>
                  <a:pt x="9387" y="2130"/>
                </a:lnTo>
                <a:lnTo>
                  <a:pt x="9382" y="2102"/>
                </a:lnTo>
                <a:lnTo>
                  <a:pt x="9379" y="2073"/>
                </a:lnTo>
                <a:lnTo>
                  <a:pt x="9377" y="2041"/>
                </a:lnTo>
                <a:lnTo>
                  <a:pt x="9376" y="2007"/>
                </a:lnTo>
                <a:lnTo>
                  <a:pt x="9376" y="1971"/>
                </a:lnTo>
                <a:lnTo>
                  <a:pt x="9376" y="1239"/>
                </a:lnTo>
                <a:lnTo>
                  <a:pt x="9784" y="1239"/>
                </a:lnTo>
                <a:lnTo>
                  <a:pt x="9794" y="1238"/>
                </a:lnTo>
                <a:lnTo>
                  <a:pt x="9803" y="1237"/>
                </a:lnTo>
                <a:lnTo>
                  <a:pt x="9813" y="1236"/>
                </a:lnTo>
                <a:lnTo>
                  <a:pt x="9820" y="1233"/>
                </a:lnTo>
                <a:lnTo>
                  <a:pt x="9829" y="1231"/>
                </a:lnTo>
                <a:lnTo>
                  <a:pt x="9836" y="1227"/>
                </a:lnTo>
                <a:lnTo>
                  <a:pt x="9843" y="1222"/>
                </a:lnTo>
                <a:lnTo>
                  <a:pt x="9849" y="1217"/>
                </a:lnTo>
                <a:lnTo>
                  <a:pt x="9855" y="1212"/>
                </a:lnTo>
                <a:lnTo>
                  <a:pt x="9860" y="1205"/>
                </a:lnTo>
                <a:lnTo>
                  <a:pt x="9864" y="1198"/>
                </a:lnTo>
                <a:lnTo>
                  <a:pt x="9868" y="1191"/>
                </a:lnTo>
                <a:lnTo>
                  <a:pt x="9871" y="1182"/>
                </a:lnTo>
                <a:lnTo>
                  <a:pt x="9873" y="1172"/>
                </a:lnTo>
                <a:lnTo>
                  <a:pt x="9875" y="1163"/>
                </a:lnTo>
                <a:lnTo>
                  <a:pt x="9875" y="1153"/>
                </a:lnTo>
                <a:lnTo>
                  <a:pt x="9875" y="935"/>
                </a:lnTo>
                <a:lnTo>
                  <a:pt x="9875" y="925"/>
                </a:lnTo>
                <a:lnTo>
                  <a:pt x="9873" y="916"/>
                </a:lnTo>
                <a:lnTo>
                  <a:pt x="9871" y="907"/>
                </a:lnTo>
                <a:lnTo>
                  <a:pt x="9868" y="899"/>
                </a:lnTo>
                <a:lnTo>
                  <a:pt x="9864" y="892"/>
                </a:lnTo>
                <a:lnTo>
                  <a:pt x="9860" y="886"/>
                </a:lnTo>
                <a:lnTo>
                  <a:pt x="9855" y="880"/>
                </a:lnTo>
                <a:lnTo>
                  <a:pt x="9849" y="875"/>
                </a:lnTo>
                <a:lnTo>
                  <a:pt x="9843" y="871"/>
                </a:lnTo>
                <a:lnTo>
                  <a:pt x="9836" y="866"/>
                </a:lnTo>
                <a:lnTo>
                  <a:pt x="9829" y="863"/>
                </a:lnTo>
                <a:lnTo>
                  <a:pt x="9820" y="861"/>
                </a:lnTo>
                <a:lnTo>
                  <a:pt x="9813" y="859"/>
                </a:lnTo>
                <a:lnTo>
                  <a:pt x="9803" y="858"/>
                </a:lnTo>
                <a:lnTo>
                  <a:pt x="9794" y="857"/>
                </a:lnTo>
                <a:lnTo>
                  <a:pt x="9784" y="857"/>
                </a:lnTo>
                <a:lnTo>
                  <a:pt x="9379" y="857"/>
                </a:lnTo>
                <a:lnTo>
                  <a:pt x="9379" y="418"/>
                </a:lnTo>
                <a:lnTo>
                  <a:pt x="9379" y="405"/>
                </a:lnTo>
                <a:lnTo>
                  <a:pt x="9378" y="395"/>
                </a:lnTo>
                <a:lnTo>
                  <a:pt x="9376" y="384"/>
                </a:lnTo>
                <a:lnTo>
                  <a:pt x="9374" y="374"/>
                </a:lnTo>
                <a:lnTo>
                  <a:pt x="9371" y="365"/>
                </a:lnTo>
                <a:lnTo>
                  <a:pt x="9366" y="357"/>
                </a:lnTo>
                <a:lnTo>
                  <a:pt x="9362" y="350"/>
                </a:lnTo>
                <a:lnTo>
                  <a:pt x="9357" y="344"/>
                </a:lnTo>
                <a:lnTo>
                  <a:pt x="9352" y="338"/>
                </a:lnTo>
                <a:lnTo>
                  <a:pt x="9345" y="333"/>
                </a:lnTo>
                <a:lnTo>
                  <a:pt x="9338" y="329"/>
                </a:lnTo>
                <a:lnTo>
                  <a:pt x="9330" y="325"/>
                </a:lnTo>
                <a:lnTo>
                  <a:pt x="9322" y="323"/>
                </a:lnTo>
                <a:lnTo>
                  <a:pt x="9313" y="321"/>
                </a:lnTo>
                <a:lnTo>
                  <a:pt x="9304" y="320"/>
                </a:lnTo>
                <a:lnTo>
                  <a:pt x="9293" y="320"/>
                </a:lnTo>
                <a:lnTo>
                  <a:pt x="9271" y="320"/>
                </a:lnTo>
                <a:lnTo>
                  <a:pt x="8933" y="365"/>
                </a:lnTo>
                <a:lnTo>
                  <a:pt x="8813" y="381"/>
                </a:lnTo>
                <a:lnTo>
                  <a:pt x="8813" y="1960"/>
                </a:lnTo>
                <a:close/>
                <a:moveTo>
                  <a:pt x="11349" y="819"/>
                </a:moveTo>
                <a:lnTo>
                  <a:pt x="11323" y="813"/>
                </a:lnTo>
                <a:lnTo>
                  <a:pt x="11295" y="808"/>
                </a:lnTo>
                <a:lnTo>
                  <a:pt x="11268" y="805"/>
                </a:lnTo>
                <a:lnTo>
                  <a:pt x="11244" y="804"/>
                </a:lnTo>
                <a:lnTo>
                  <a:pt x="11204" y="805"/>
                </a:lnTo>
                <a:lnTo>
                  <a:pt x="11165" y="807"/>
                </a:lnTo>
                <a:lnTo>
                  <a:pt x="11147" y="809"/>
                </a:lnTo>
                <a:lnTo>
                  <a:pt x="11130" y="812"/>
                </a:lnTo>
                <a:lnTo>
                  <a:pt x="11112" y="815"/>
                </a:lnTo>
                <a:lnTo>
                  <a:pt x="11096" y="819"/>
                </a:lnTo>
                <a:lnTo>
                  <a:pt x="11080" y="823"/>
                </a:lnTo>
                <a:lnTo>
                  <a:pt x="11064" y="827"/>
                </a:lnTo>
                <a:lnTo>
                  <a:pt x="11048" y="831"/>
                </a:lnTo>
                <a:lnTo>
                  <a:pt x="11033" y="837"/>
                </a:lnTo>
                <a:lnTo>
                  <a:pt x="11019" y="843"/>
                </a:lnTo>
                <a:lnTo>
                  <a:pt x="11005" y="849"/>
                </a:lnTo>
                <a:lnTo>
                  <a:pt x="10991" y="856"/>
                </a:lnTo>
                <a:lnTo>
                  <a:pt x="10977" y="863"/>
                </a:lnTo>
                <a:lnTo>
                  <a:pt x="10949" y="879"/>
                </a:lnTo>
                <a:lnTo>
                  <a:pt x="10924" y="897"/>
                </a:lnTo>
                <a:lnTo>
                  <a:pt x="10898" y="916"/>
                </a:lnTo>
                <a:lnTo>
                  <a:pt x="10874" y="939"/>
                </a:lnTo>
                <a:lnTo>
                  <a:pt x="10848" y="962"/>
                </a:lnTo>
                <a:lnTo>
                  <a:pt x="10824" y="988"/>
                </a:lnTo>
                <a:lnTo>
                  <a:pt x="10800" y="1014"/>
                </a:lnTo>
                <a:lnTo>
                  <a:pt x="10774" y="1044"/>
                </a:lnTo>
                <a:lnTo>
                  <a:pt x="10767" y="931"/>
                </a:lnTo>
                <a:lnTo>
                  <a:pt x="10766" y="921"/>
                </a:lnTo>
                <a:lnTo>
                  <a:pt x="10764" y="912"/>
                </a:lnTo>
                <a:lnTo>
                  <a:pt x="10761" y="904"/>
                </a:lnTo>
                <a:lnTo>
                  <a:pt x="10758" y="896"/>
                </a:lnTo>
                <a:lnTo>
                  <a:pt x="10755" y="889"/>
                </a:lnTo>
                <a:lnTo>
                  <a:pt x="10750" y="882"/>
                </a:lnTo>
                <a:lnTo>
                  <a:pt x="10744" y="877"/>
                </a:lnTo>
                <a:lnTo>
                  <a:pt x="10738" y="873"/>
                </a:lnTo>
                <a:lnTo>
                  <a:pt x="10730" y="869"/>
                </a:lnTo>
                <a:lnTo>
                  <a:pt x="10723" y="865"/>
                </a:lnTo>
                <a:lnTo>
                  <a:pt x="10714" y="862"/>
                </a:lnTo>
                <a:lnTo>
                  <a:pt x="10705" y="860"/>
                </a:lnTo>
                <a:lnTo>
                  <a:pt x="10694" y="858"/>
                </a:lnTo>
                <a:lnTo>
                  <a:pt x="10684" y="857"/>
                </a:lnTo>
                <a:lnTo>
                  <a:pt x="10671" y="857"/>
                </a:lnTo>
                <a:lnTo>
                  <a:pt x="10658" y="856"/>
                </a:lnTo>
                <a:lnTo>
                  <a:pt x="10419" y="856"/>
                </a:lnTo>
                <a:lnTo>
                  <a:pt x="10354" y="856"/>
                </a:lnTo>
                <a:lnTo>
                  <a:pt x="10246" y="856"/>
                </a:lnTo>
                <a:lnTo>
                  <a:pt x="10246" y="965"/>
                </a:lnTo>
                <a:lnTo>
                  <a:pt x="10246" y="1111"/>
                </a:lnTo>
                <a:lnTo>
                  <a:pt x="10246" y="1422"/>
                </a:lnTo>
                <a:lnTo>
                  <a:pt x="10246" y="2411"/>
                </a:lnTo>
                <a:lnTo>
                  <a:pt x="10246" y="2578"/>
                </a:lnTo>
                <a:lnTo>
                  <a:pt x="10246" y="2684"/>
                </a:lnTo>
                <a:lnTo>
                  <a:pt x="10350" y="2684"/>
                </a:lnTo>
                <a:lnTo>
                  <a:pt x="10461" y="2684"/>
                </a:lnTo>
                <a:lnTo>
                  <a:pt x="10703" y="2684"/>
                </a:lnTo>
                <a:lnTo>
                  <a:pt x="10717" y="2683"/>
                </a:lnTo>
                <a:lnTo>
                  <a:pt x="10729" y="2682"/>
                </a:lnTo>
                <a:lnTo>
                  <a:pt x="10741" y="2679"/>
                </a:lnTo>
                <a:lnTo>
                  <a:pt x="10752" y="2676"/>
                </a:lnTo>
                <a:lnTo>
                  <a:pt x="10761" y="2673"/>
                </a:lnTo>
                <a:lnTo>
                  <a:pt x="10770" y="2668"/>
                </a:lnTo>
                <a:lnTo>
                  <a:pt x="10777" y="2662"/>
                </a:lnTo>
                <a:lnTo>
                  <a:pt x="10784" y="2656"/>
                </a:lnTo>
                <a:lnTo>
                  <a:pt x="10790" y="2649"/>
                </a:lnTo>
                <a:lnTo>
                  <a:pt x="10794" y="2641"/>
                </a:lnTo>
                <a:lnTo>
                  <a:pt x="10798" y="2633"/>
                </a:lnTo>
                <a:lnTo>
                  <a:pt x="10803" y="2623"/>
                </a:lnTo>
                <a:lnTo>
                  <a:pt x="10805" y="2614"/>
                </a:lnTo>
                <a:lnTo>
                  <a:pt x="10807" y="2602"/>
                </a:lnTo>
                <a:lnTo>
                  <a:pt x="10808" y="2590"/>
                </a:lnTo>
                <a:lnTo>
                  <a:pt x="10808" y="2578"/>
                </a:lnTo>
                <a:lnTo>
                  <a:pt x="10808" y="1456"/>
                </a:lnTo>
                <a:lnTo>
                  <a:pt x="10826" y="1439"/>
                </a:lnTo>
                <a:lnTo>
                  <a:pt x="10845" y="1423"/>
                </a:lnTo>
                <a:lnTo>
                  <a:pt x="10864" y="1408"/>
                </a:lnTo>
                <a:lnTo>
                  <a:pt x="10885" y="1394"/>
                </a:lnTo>
                <a:lnTo>
                  <a:pt x="10905" y="1381"/>
                </a:lnTo>
                <a:lnTo>
                  <a:pt x="10926" y="1369"/>
                </a:lnTo>
                <a:lnTo>
                  <a:pt x="10947" y="1358"/>
                </a:lnTo>
                <a:lnTo>
                  <a:pt x="10970" y="1348"/>
                </a:lnTo>
                <a:lnTo>
                  <a:pt x="10992" y="1339"/>
                </a:lnTo>
                <a:lnTo>
                  <a:pt x="11014" y="1332"/>
                </a:lnTo>
                <a:lnTo>
                  <a:pt x="11038" y="1325"/>
                </a:lnTo>
                <a:lnTo>
                  <a:pt x="11060" y="1320"/>
                </a:lnTo>
                <a:lnTo>
                  <a:pt x="11083" y="1316"/>
                </a:lnTo>
                <a:lnTo>
                  <a:pt x="11107" y="1313"/>
                </a:lnTo>
                <a:lnTo>
                  <a:pt x="11130" y="1311"/>
                </a:lnTo>
                <a:lnTo>
                  <a:pt x="11154" y="1310"/>
                </a:lnTo>
                <a:lnTo>
                  <a:pt x="11179" y="1311"/>
                </a:lnTo>
                <a:lnTo>
                  <a:pt x="11206" y="1313"/>
                </a:lnTo>
                <a:lnTo>
                  <a:pt x="11231" y="1316"/>
                </a:lnTo>
                <a:lnTo>
                  <a:pt x="11255" y="1321"/>
                </a:lnTo>
                <a:lnTo>
                  <a:pt x="11262" y="1321"/>
                </a:lnTo>
                <a:lnTo>
                  <a:pt x="11274" y="1321"/>
                </a:lnTo>
                <a:lnTo>
                  <a:pt x="11285" y="1320"/>
                </a:lnTo>
                <a:lnTo>
                  <a:pt x="11296" y="1318"/>
                </a:lnTo>
                <a:lnTo>
                  <a:pt x="11301" y="1316"/>
                </a:lnTo>
                <a:lnTo>
                  <a:pt x="11306" y="1313"/>
                </a:lnTo>
                <a:lnTo>
                  <a:pt x="11310" y="1311"/>
                </a:lnTo>
                <a:lnTo>
                  <a:pt x="11313" y="1306"/>
                </a:lnTo>
                <a:lnTo>
                  <a:pt x="11320" y="1299"/>
                </a:lnTo>
                <a:lnTo>
                  <a:pt x="11326" y="1288"/>
                </a:lnTo>
                <a:lnTo>
                  <a:pt x="11330" y="1276"/>
                </a:lnTo>
                <a:lnTo>
                  <a:pt x="11334" y="1262"/>
                </a:lnTo>
                <a:lnTo>
                  <a:pt x="11390" y="909"/>
                </a:lnTo>
                <a:lnTo>
                  <a:pt x="11392" y="898"/>
                </a:lnTo>
                <a:lnTo>
                  <a:pt x="11394" y="891"/>
                </a:lnTo>
                <a:lnTo>
                  <a:pt x="11394" y="882"/>
                </a:lnTo>
                <a:lnTo>
                  <a:pt x="11394" y="875"/>
                </a:lnTo>
                <a:lnTo>
                  <a:pt x="11394" y="867"/>
                </a:lnTo>
                <a:lnTo>
                  <a:pt x="11392" y="858"/>
                </a:lnTo>
                <a:lnTo>
                  <a:pt x="11390" y="849"/>
                </a:lnTo>
                <a:lnTo>
                  <a:pt x="11385" y="842"/>
                </a:lnTo>
                <a:lnTo>
                  <a:pt x="11381" y="836"/>
                </a:lnTo>
                <a:lnTo>
                  <a:pt x="11375" y="830"/>
                </a:lnTo>
                <a:lnTo>
                  <a:pt x="11368" y="826"/>
                </a:lnTo>
                <a:lnTo>
                  <a:pt x="11359" y="822"/>
                </a:lnTo>
                <a:lnTo>
                  <a:pt x="11349" y="819"/>
                </a:lnTo>
                <a:close/>
                <a:moveTo>
                  <a:pt x="8224" y="1650"/>
                </a:moveTo>
                <a:lnTo>
                  <a:pt x="7837" y="1496"/>
                </a:lnTo>
                <a:lnTo>
                  <a:pt x="7814" y="1487"/>
                </a:lnTo>
                <a:lnTo>
                  <a:pt x="7793" y="1477"/>
                </a:lnTo>
                <a:lnTo>
                  <a:pt x="7775" y="1468"/>
                </a:lnTo>
                <a:lnTo>
                  <a:pt x="7759" y="1458"/>
                </a:lnTo>
                <a:lnTo>
                  <a:pt x="7745" y="1450"/>
                </a:lnTo>
                <a:lnTo>
                  <a:pt x="7733" y="1440"/>
                </a:lnTo>
                <a:lnTo>
                  <a:pt x="7724" y="1431"/>
                </a:lnTo>
                <a:lnTo>
                  <a:pt x="7715" y="1422"/>
                </a:lnTo>
                <a:lnTo>
                  <a:pt x="7709" y="1413"/>
                </a:lnTo>
                <a:lnTo>
                  <a:pt x="7704" y="1404"/>
                </a:lnTo>
                <a:lnTo>
                  <a:pt x="7699" y="1395"/>
                </a:lnTo>
                <a:lnTo>
                  <a:pt x="7696" y="1386"/>
                </a:lnTo>
                <a:lnTo>
                  <a:pt x="7694" y="1377"/>
                </a:lnTo>
                <a:lnTo>
                  <a:pt x="7692" y="1368"/>
                </a:lnTo>
                <a:lnTo>
                  <a:pt x="7692" y="1360"/>
                </a:lnTo>
                <a:lnTo>
                  <a:pt x="7691" y="1351"/>
                </a:lnTo>
                <a:lnTo>
                  <a:pt x="7692" y="1340"/>
                </a:lnTo>
                <a:lnTo>
                  <a:pt x="7694" y="1330"/>
                </a:lnTo>
                <a:lnTo>
                  <a:pt x="7697" y="1319"/>
                </a:lnTo>
                <a:lnTo>
                  <a:pt x="7703" y="1308"/>
                </a:lnTo>
                <a:lnTo>
                  <a:pt x="7709" y="1299"/>
                </a:lnTo>
                <a:lnTo>
                  <a:pt x="7716" y="1288"/>
                </a:lnTo>
                <a:lnTo>
                  <a:pt x="7725" y="1279"/>
                </a:lnTo>
                <a:lnTo>
                  <a:pt x="7736" y="1269"/>
                </a:lnTo>
                <a:lnTo>
                  <a:pt x="7748" y="1261"/>
                </a:lnTo>
                <a:lnTo>
                  <a:pt x="7761" y="1253"/>
                </a:lnTo>
                <a:lnTo>
                  <a:pt x="7777" y="1246"/>
                </a:lnTo>
                <a:lnTo>
                  <a:pt x="7793" y="1239"/>
                </a:lnTo>
                <a:lnTo>
                  <a:pt x="7811" y="1235"/>
                </a:lnTo>
                <a:lnTo>
                  <a:pt x="7831" y="1231"/>
                </a:lnTo>
                <a:lnTo>
                  <a:pt x="7853" y="1229"/>
                </a:lnTo>
                <a:lnTo>
                  <a:pt x="7875" y="1228"/>
                </a:lnTo>
                <a:lnTo>
                  <a:pt x="7898" y="1229"/>
                </a:lnTo>
                <a:lnTo>
                  <a:pt x="7923" y="1230"/>
                </a:lnTo>
                <a:lnTo>
                  <a:pt x="7947" y="1232"/>
                </a:lnTo>
                <a:lnTo>
                  <a:pt x="7973" y="1235"/>
                </a:lnTo>
                <a:lnTo>
                  <a:pt x="7999" y="1238"/>
                </a:lnTo>
                <a:lnTo>
                  <a:pt x="8025" y="1244"/>
                </a:lnTo>
                <a:lnTo>
                  <a:pt x="8052" y="1248"/>
                </a:lnTo>
                <a:lnTo>
                  <a:pt x="8079" y="1254"/>
                </a:lnTo>
                <a:lnTo>
                  <a:pt x="8134" y="1267"/>
                </a:lnTo>
                <a:lnTo>
                  <a:pt x="8190" y="1283"/>
                </a:lnTo>
                <a:lnTo>
                  <a:pt x="8245" y="1301"/>
                </a:lnTo>
                <a:lnTo>
                  <a:pt x="8300" y="1320"/>
                </a:lnTo>
                <a:lnTo>
                  <a:pt x="8301" y="1320"/>
                </a:lnTo>
                <a:lnTo>
                  <a:pt x="8301" y="1320"/>
                </a:lnTo>
                <a:lnTo>
                  <a:pt x="8301" y="1320"/>
                </a:lnTo>
                <a:lnTo>
                  <a:pt x="8305" y="1322"/>
                </a:lnTo>
                <a:lnTo>
                  <a:pt x="8310" y="1323"/>
                </a:lnTo>
                <a:lnTo>
                  <a:pt x="8316" y="1325"/>
                </a:lnTo>
                <a:lnTo>
                  <a:pt x="8322" y="1328"/>
                </a:lnTo>
                <a:lnTo>
                  <a:pt x="8328" y="1329"/>
                </a:lnTo>
                <a:lnTo>
                  <a:pt x="8333" y="1331"/>
                </a:lnTo>
                <a:lnTo>
                  <a:pt x="8338" y="1333"/>
                </a:lnTo>
                <a:lnTo>
                  <a:pt x="8344" y="1334"/>
                </a:lnTo>
                <a:lnTo>
                  <a:pt x="8349" y="1336"/>
                </a:lnTo>
                <a:lnTo>
                  <a:pt x="8353" y="1337"/>
                </a:lnTo>
                <a:lnTo>
                  <a:pt x="8358" y="1338"/>
                </a:lnTo>
                <a:lnTo>
                  <a:pt x="8362" y="1339"/>
                </a:lnTo>
                <a:lnTo>
                  <a:pt x="8365" y="1340"/>
                </a:lnTo>
                <a:lnTo>
                  <a:pt x="8368" y="1341"/>
                </a:lnTo>
                <a:lnTo>
                  <a:pt x="8371" y="1341"/>
                </a:lnTo>
                <a:lnTo>
                  <a:pt x="8375" y="1342"/>
                </a:lnTo>
                <a:lnTo>
                  <a:pt x="8379" y="1342"/>
                </a:lnTo>
                <a:lnTo>
                  <a:pt x="8383" y="1344"/>
                </a:lnTo>
                <a:lnTo>
                  <a:pt x="8385" y="1344"/>
                </a:lnTo>
                <a:lnTo>
                  <a:pt x="8387" y="1344"/>
                </a:lnTo>
                <a:lnTo>
                  <a:pt x="8392" y="1342"/>
                </a:lnTo>
                <a:lnTo>
                  <a:pt x="8395" y="1342"/>
                </a:lnTo>
                <a:lnTo>
                  <a:pt x="8400" y="1341"/>
                </a:lnTo>
                <a:lnTo>
                  <a:pt x="8404" y="1340"/>
                </a:lnTo>
                <a:lnTo>
                  <a:pt x="8410" y="1339"/>
                </a:lnTo>
                <a:lnTo>
                  <a:pt x="8414" y="1337"/>
                </a:lnTo>
                <a:lnTo>
                  <a:pt x="8417" y="1335"/>
                </a:lnTo>
                <a:lnTo>
                  <a:pt x="8421" y="1333"/>
                </a:lnTo>
                <a:lnTo>
                  <a:pt x="8425" y="1330"/>
                </a:lnTo>
                <a:lnTo>
                  <a:pt x="8428" y="1327"/>
                </a:lnTo>
                <a:lnTo>
                  <a:pt x="8431" y="1323"/>
                </a:lnTo>
                <a:lnTo>
                  <a:pt x="8433" y="1320"/>
                </a:lnTo>
                <a:lnTo>
                  <a:pt x="8436" y="1316"/>
                </a:lnTo>
                <a:lnTo>
                  <a:pt x="8438" y="1312"/>
                </a:lnTo>
                <a:lnTo>
                  <a:pt x="8440" y="1306"/>
                </a:lnTo>
                <a:lnTo>
                  <a:pt x="8443" y="1302"/>
                </a:lnTo>
                <a:lnTo>
                  <a:pt x="8445" y="1296"/>
                </a:lnTo>
                <a:lnTo>
                  <a:pt x="8446" y="1290"/>
                </a:lnTo>
                <a:lnTo>
                  <a:pt x="8447" y="1286"/>
                </a:lnTo>
                <a:lnTo>
                  <a:pt x="8448" y="1281"/>
                </a:lnTo>
                <a:lnTo>
                  <a:pt x="8449" y="1270"/>
                </a:lnTo>
                <a:lnTo>
                  <a:pt x="8452" y="1255"/>
                </a:lnTo>
                <a:lnTo>
                  <a:pt x="8489" y="1022"/>
                </a:lnTo>
                <a:lnTo>
                  <a:pt x="8492" y="1008"/>
                </a:lnTo>
                <a:lnTo>
                  <a:pt x="8494" y="995"/>
                </a:lnTo>
                <a:lnTo>
                  <a:pt x="8495" y="982"/>
                </a:lnTo>
                <a:lnTo>
                  <a:pt x="8496" y="972"/>
                </a:lnTo>
                <a:lnTo>
                  <a:pt x="8495" y="961"/>
                </a:lnTo>
                <a:lnTo>
                  <a:pt x="8492" y="951"/>
                </a:lnTo>
                <a:lnTo>
                  <a:pt x="8487" y="942"/>
                </a:lnTo>
                <a:lnTo>
                  <a:pt x="8482" y="933"/>
                </a:lnTo>
                <a:lnTo>
                  <a:pt x="8473" y="926"/>
                </a:lnTo>
                <a:lnTo>
                  <a:pt x="8465" y="920"/>
                </a:lnTo>
                <a:lnTo>
                  <a:pt x="8454" y="913"/>
                </a:lnTo>
                <a:lnTo>
                  <a:pt x="8442" y="907"/>
                </a:lnTo>
                <a:lnTo>
                  <a:pt x="8404" y="891"/>
                </a:lnTo>
                <a:lnTo>
                  <a:pt x="8366" y="875"/>
                </a:lnTo>
                <a:lnTo>
                  <a:pt x="8328" y="861"/>
                </a:lnTo>
                <a:lnTo>
                  <a:pt x="8291" y="849"/>
                </a:lnTo>
                <a:lnTo>
                  <a:pt x="8252" y="838"/>
                </a:lnTo>
                <a:lnTo>
                  <a:pt x="8215" y="828"/>
                </a:lnTo>
                <a:lnTo>
                  <a:pt x="8178" y="819"/>
                </a:lnTo>
                <a:lnTo>
                  <a:pt x="8140" y="811"/>
                </a:lnTo>
                <a:lnTo>
                  <a:pt x="8102" y="805"/>
                </a:lnTo>
                <a:lnTo>
                  <a:pt x="8065" y="798"/>
                </a:lnTo>
                <a:lnTo>
                  <a:pt x="8028" y="794"/>
                </a:lnTo>
                <a:lnTo>
                  <a:pt x="7990" y="791"/>
                </a:lnTo>
                <a:lnTo>
                  <a:pt x="7952" y="788"/>
                </a:lnTo>
                <a:lnTo>
                  <a:pt x="7915" y="786"/>
                </a:lnTo>
                <a:lnTo>
                  <a:pt x="7878" y="785"/>
                </a:lnTo>
                <a:lnTo>
                  <a:pt x="7841" y="785"/>
                </a:lnTo>
                <a:lnTo>
                  <a:pt x="7809" y="785"/>
                </a:lnTo>
                <a:lnTo>
                  <a:pt x="7776" y="787"/>
                </a:lnTo>
                <a:lnTo>
                  <a:pt x="7744" y="789"/>
                </a:lnTo>
                <a:lnTo>
                  <a:pt x="7711" y="792"/>
                </a:lnTo>
                <a:lnTo>
                  <a:pt x="7679" y="796"/>
                </a:lnTo>
                <a:lnTo>
                  <a:pt x="7646" y="803"/>
                </a:lnTo>
                <a:lnTo>
                  <a:pt x="7614" y="809"/>
                </a:lnTo>
                <a:lnTo>
                  <a:pt x="7583" y="816"/>
                </a:lnTo>
                <a:lnTo>
                  <a:pt x="7552" y="825"/>
                </a:lnTo>
                <a:lnTo>
                  <a:pt x="7520" y="835"/>
                </a:lnTo>
                <a:lnTo>
                  <a:pt x="7490" y="846"/>
                </a:lnTo>
                <a:lnTo>
                  <a:pt x="7459" y="858"/>
                </a:lnTo>
                <a:lnTo>
                  <a:pt x="7431" y="871"/>
                </a:lnTo>
                <a:lnTo>
                  <a:pt x="7402" y="886"/>
                </a:lnTo>
                <a:lnTo>
                  <a:pt x="7374" y="901"/>
                </a:lnTo>
                <a:lnTo>
                  <a:pt x="7348" y="917"/>
                </a:lnTo>
                <a:lnTo>
                  <a:pt x="7322" y="935"/>
                </a:lnTo>
                <a:lnTo>
                  <a:pt x="7297" y="955"/>
                </a:lnTo>
                <a:lnTo>
                  <a:pt x="7273" y="975"/>
                </a:lnTo>
                <a:lnTo>
                  <a:pt x="7251" y="997"/>
                </a:lnTo>
                <a:lnTo>
                  <a:pt x="7230" y="1019"/>
                </a:lnTo>
                <a:lnTo>
                  <a:pt x="7210" y="1044"/>
                </a:lnTo>
                <a:lnTo>
                  <a:pt x="7192" y="1069"/>
                </a:lnTo>
                <a:lnTo>
                  <a:pt x="7175" y="1096"/>
                </a:lnTo>
                <a:lnTo>
                  <a:pt x="7160" y="1124"/>
                </a:lnTo>
                <a:lnTo>
                  <a:pt x="7148" y="1153"/>
                </a:lnTo>
                <a:lnTo>
                  <a:pt x="7136" y="1184"/>
                </a:lnTo>
                <a:lnTo>
                  <a:pt x="7126" y="1216"/>
                </a:lnTo>
                <a:lnTo>
                  <a:pt x="7119" y="1250"/>
                </a:lnTo>
                <a:lnTo>
                  <a:pt x="7114" y="1284"/>
                </a:lnTo>
                <a:lnTo>
                  <a:pt x="7111" y="1321"/>
                </a:lnTo>
                <a:lnTo>
                  <a:pt x="7109" y="1358"/>
                </a:lnTo>
                <a:lnTo>
                  <a:pt x="7111" y="1384"/>
                </a:lnTo>
                <a:lnTo>
                  <a:pt x="7112" y="1409"/>
                </a:lnTo>
                <a:lnTo>
                  <a:pt x="7115" y="1434"/>
                </a:lnTo>
                <a:lnTo>
                  <a:pt x="7118" y="1457"/>
                </a:lnTo>
                <a:lnTo>
                  <a:pt x="7122" y="1481"/>
                </a:lnTo>
                <a:lnTo>
                  <a:pt x="7128" y="1504"/>
                </a:lnTo>
                <a:lnTo>
                  <a:pt x="7134" y="1526"/>
                </a:lnTo>
                <a:lnTo>
                  <a:pt x="7141" y="1548"/>
                </a:lnTo>
                <a:lnTo>
                  <a:pt x="7150" y="1569"/>
                </a:lnTo>
                <a:lnTo>
                  <a:pt x="7158" y="1589"/>
                </a:lnTo>
                <a:lnTo>
                  <a:pt x="7168" y="1609"/>
                </a:lnTo>
                <a:lnTo>
                  <a:pt x="7179" y="1628"/>
                </a:lnTo>
                <a:lnTo>
                  <a:pt x="7190" y="1648"/>
                </a:lnTo>
                <a:lnTo>
                  <a:pt x="7202" y="1666"/>
                </a:lnTo>
                <a:lnTo>
                  <a:pt x="7214" y="1684"/>
                </a:lnTo>
                <a:lnTo>
                  <a:pt x="7227" y="1701"/>
                </a:lnTo>
                <a:lnTo>
                  <a:pt x="7241" y="1718"/>
                </a:lnTo>
                <a:lnTo>
                  <a:pt x="7255" y="1734"/>
                </a:lnTo>
                <a:lnTo>
                  <a:pt x="7270" y="1748"/>
                </a:lnTo>
                <a:lnTo>
                  <a:pt x="7286" y="1763"/>
                </a:lnTo>
                <a:lnTo>
                  <a:pt x="7302" y="1778"/>
                </a:lnTo>
                <a:lnTo>
                  <a:pt x="7318" y="1791"/>
                </a:lnTo>
                <a:lnTo>
                  <a:pt x="7335" y="1805"/>
                </a:lnTo>
                <a:lnTo>
                  <a:pt x="7352" y="1816"/>
                </a:lnTo>
                <a:lnTo>
                  <a:pt x="7369" y="1828"/>
                </a:lnTo>
                <a:lnTo>
                  <a:pt x="7387" y="1840"/>
                </a:lnTo>
                <a:lnTo>
                  <a:pt x="7405" y="1850"/>
                </a:lnTo>
                <a:lnTo>
                  <a:pt x="7424" y="1860"/>
                </a:lnTo>
                <a:lnTo>
                  <a:pt x="7442" y="1870"/>
                </a:lnTo>
                <a:lnTo>
                  <a:pt x="7461" y="1878"/>
                </a:lnTo>
                <a:lnTo>
                  <a:pt x="7480" y="1887"/>
                </a:lnTo>
                <a:lnTo>
                  <a:pt x="7500" y="1894"/>
                </a:lnTo>
                <a:lnTo>
                  <a:pt x="7841" y="2021"/>
                </a:lnTo>
                <a:lnTo>
                  <a:pt x="7866" y="2030"/>
                </a:lnTo>
                <a:lnTo>
                  <a:pt x="7889" y="2040"/>
                </a:lnTo>
                <a:lnTo>
                  <a:pt x="7910" y="2049"/>
                </a:lnTo>
                <a:lnTo>
                  <a:pt x="7929" y="2059"/>
                </a:lnTo>
                <a:lnTo>
                  <a:pt x="7945" y="2067"/>
                </a:lnTo>
                <a:lnTo>
                  <a:pt x="7960" y="2077"/>
                </a:lnTo>
                <a:lnTo>
                  <a:pt x="7973" y="2086"/>
                </a:lnTo>
                <a:lnTo>
                  <a:pt x="7983" y="2096"/>
                </a:lnTo>
                <a:lnTo>
                  <a:pt x="7993" y="2106"/>
                </a:lnTo>
                <a:lnTo>
                  <a:pt x="8001" y="2115"/>
                </a:lnTo>
                <a:lnTo>
                  <a:pt x="8008" y="2126"/>
                </a:lnTo>
                <a:lnTo>
                  <a:pt x="8012" y="2136"/>
                </a:lnTo>
                <a:lnTo>
                  <a:pt x="8016" y="2147"/>
                </a:lnTo>
                <a:lnTo>
                  <a:pt x="8018" y="2159"/>
                </a:lnTo>
                <a:lnTo>
                  <a:pt x="8021" y="2171"/>
                </a:lnTo>
                <a:lnTo>
                  <a:pt x="8021" y="2185"/>
                </a:lnTo>
                <a:lnTo>
                  <a:pt x="8019" y="2200"/>
                </a:lnTo>
                <a:lnTo>
                  <a:pt x="8017" y="2215"/>
                </a:lnTo>
                <a:lnTo>
                  <a:pt x="8012" y="2229"/>
                </a:lnTo>
                <a:lnTo>
                  <a:pt x="8006" y="2242"/>
                </a:lnTo>
                <a:lnTo>
                  <a:pt x="7997" y="2253"/>
                </a:lnTo>
                <a:lnTo>
                  <a:pt x="7988" y="2264"/>
                </a:lnTo>
                <a:lnTo>
                  <a:pt x="7976" y="2275"/>
                </a:lnTo>
                <a:lnTo>
                  <a:pt x="7963" y="2283"/>
                </a:lnTo>
                <a:lnTo>
                  <a:pt x="7949" y="2292"/>
                </a:lnTo>
                <a:lnTo>
                  <a:pt x="7933" y="2299"/>
                </a:lnTo>
                <a:lnTo>
                  <a:pt x="7916" y="2304"/>
                </a:lnTo>
                <a:lnTo>
                  <a:pt x="7898" y="2310"/>
                </a:lnTo>
                <a:lnTo>
                  <a:pt x="7878" y="2314"/>
                </a:lnTo>
                <a:lnTo>
                  <a:pt x="7858" y="2317"/>
                </a:lnTo>
                <a:lnTo>
                  <a:pt x="7837" y="2318"/>
                </a:lnTo>
                <a:lnTo>
                  <a:pt x="7814" y="2319"/>
                </a:lnTo>
                <a:lnTo>
                  <a:pt x="7789" y="2318"/>
                </a:lnTo>
                <a:lnTo>
                  <a:pt x="7762" y="2317"/>
                </a:lnTo>
                <a:lnTo>
                  <a:pt x="7735" y="2315"/>
                </a:lnTo>
                <a:lnTo>
                  <a:pt x="7706" y="2312"/>
                </a:lnTo>
                <a:lnTo>
                  <a:pt x="7677" y="2307"/>
                </a:lnTo>
                <a:lnTo>
                  <a:pt x="7647" y="2302"/>
                </a:lnTo>
                <a:lnTo>
                  <a:pt x="7618" y="2297"/>
                </a:lnTo>
                <a:lnTo>
                  <a:pt x="7587" y="2289"/>
                </a:lnTo>
                <a:lnTo>
                  <a:pt x="7555" y="2282"/>
                </a:lnTo>
                <a:lnTo>
                  <a:pt x="7523" y="2273"/>
                </a:lnTo>
                <a:lnTo>
                  <a:pt x="7490" y="2265"/>
                </a:lnTo>
                <a:lnTo>
                  <a:pt x="7457" y="2254"/>
                </a:lnTo>
                <a:lnTo>
                  <a:pt x="7424" y="2244"/>
                </a:lnTo>
                <a:lnTo>
                  <a:pt x="7391" y="2232"/>
                </a:lnTo>
                <a:lnTo>
                  <a:pt x="7357" y="2219"/>
                </a:lnTo>
                <a:lnTo>
                  <a:pt x="7323" y="2205"/>
                </a:lnTo>
                <a:lnTo>
                  <a:pt x="7322" y="2205"/>
                </a:lnTo>
                <a:lnTo>
                  <a:pt x="7322" y="2205"/>
                </a:lnTo>
                <a:lnTo>
                  <a:pt x="7322" y="2205"/>
                </a:lnTo>
                <a:lnTo>
                  <a:pt x="7318" y="2204"/>
                </a:lnTo>
                <a:lnTo>
                  <a:pt x="7312" y="2202"/>
                </a:lnTo>
                <a:lnTo>
                  <a:pt x="7307" y="2200"/>
                </a:lnTo>
                <a:lnTo>
                  <a:pt x="7302" y="2199"/>
                </a:lnTo>
                <a:lnTo>
                  <a:pt x="7297" y="2197"/>
                </a:lnTo>
                <a:lnTo>
                  <a:pt x="7290" y="2195"/>
                </a:lnTo>
                <a:lnTo>
                  <a:pt x="7285" y="2193"/>
                </a:lnTo>
                <a:lnTo>
                  <a:pt x="7278" y="2191"/>
                </a:lnTo>
                <a:lnTo>
                  <a:pt x="7273" y="2188"/>
                </a:lnTo>
                <a:lnTo>
                  <a:pt x="7268" y="2187"/>
                </a:lnTo>
                <a:lnTo>
                  <a:pt x="7261" y="2185"/>
                </a:lnTo>
                <a:lnTo>
                  <a:pt x="7256" y="2183"/>
                </a:lnTo>
                <a:lnTo>
                  <a:pt x="7252" y="2182"/>
                </a:lnTo>
                <a:lnTo>
                  <a:pt x="7247" y="2181"/>
                </a:lnTo>
                <a:lnTo>
                  <a:pt x="7243" y="2180"/>
                </a:lnTo>
                <a:lnTo>
                  <a:pt x="7239" y="2178"/>
                </a:lnTo>
                <a:lnTo>
                  <a:pt x="7236" y="2178"/>
                </a:lnTo>
                <a:lnTo>
                  <a:pt x="7233" y="2177"/>
                </a:lnTo>
                <a:lnTo>
                  <a:pt x="7230" y="2176"/>
                </a:lnTo>
                <a:lnTo>
                  <a:pt x="7225" y="2176"/>
                </a:lnTo>
                <a:lnTo>
                  <a:pt x="7221" y="2175"/>
                </a:lnTo>
                <a:lnTo>
                  <a:pt x="7218" y="2175"/>
                </a:lnTo>
                <a:lnTo>
                  <a:pt x="7216" y="2175"/>
                </a:lnTo>
                <a:lnTo>
                  <a:pt x="7214" y="2175"/>
                </a:lnTo>
                <a:lnTo>
                  <a:pt x="7209" y="2175"/>
                </a:lnTo>
                <a:lnTo>
                  <a:pt x="7205" y="2176"/>
                </a:lnTo>
                <a:lnTo>
                  <a:pt x="7201" y="2177"/>
                </a:lnTo>
                <a:lnTo>
                  <a:pt x="7196" y="2178"/>
                </a:lnTo>
                <a:lnTo>
                  <a:pt x="7191" y="2179"/>
                </a:lnTo>
                <a:lnTo>
                  <a:pt x="7187" y="2181"/>
                </a:lnTo>
                <a:lnTo>
                  <a:pt x="7184" y="2183"/>
                </a:lnTo>
                <a:lnTo>
                  <a:pt x="7180" y="2185"/>
                </a:lnTo>
                <a:lnTo>
                  <a:pt x="7176" y="2188"/>
                </a:lnTo>
                <a:lnTo>
                  <a:pt x="7173" y="2191"/>
                </a:lnTo>
                <a:lnTo>
                  <a:pt x="7170" y="2195"/>
                </a:lnTo>
                <a:lnTo>
                  <a:pt x="7167" y="2198"/>
                </a:lnTo>
                <a:lnTo>
                  <a:pt x="7165" y="2202"/>
                </a:lnTo>
                <a:lnTo>
                  <a:pt x="7163" y="2207"/>
                </a:lnTo>
                <a:lnTo>
                  <a:pt x="7160" y="2211"/>
                </a:lnTo>
                <a:lnTo>
                  <a:pt x="7158" y="2216"/>
                </a:lnTo>
                <a:lnTo>
                  <a:pt x="7156" y="2221"/>
                </a:lnTo>
                <a:lnTo>
                  <a:pt x="7155" y="2228"/>
                </a:lnTo>
                <a:lnTo>
                  <a:pt x="7154" y="2232"/>
                </a:lnTo>
                <a:lnTo>
                  <a:pt x="7153" y="2236"/>
                </a:lnTo>
                <a:lnTo>
                  <a:pt x="7152" y="2242"/>
                </a:lnTo>
                <a:lnTo>
                  <a:pt x="7150" y="2253"/>
                </a:lnTo>
                <a:lnTo>
                  <a:pt x="7148" y="2272"/>
                </a:lnTo>
                <a:lnTo>
                  <a:pt x="7143" y="2296"/>
                </a:lnTo>
                <a:lnTo>
                  <a:pt x="7139" y="2322"/>
                </a:lnTo>
                <a:lnTo>
                  <a:pt x="7135" y="2351"/>
                </a:lnTo>
                <a:lnTo>
                  <a:pt x="7131" y="2378"/>
                </a:lnTo>
                <a:lnTo>
                  <a:pt x="7126" y="2403"/>
                </a:lnTo>
                <a:lnTo>
                  <a:pt x="7126" y="2403"/>
                </a:lnTo>
                <a:lnTo>
                  <a:pt x="7112" y="2496"/>
                </a:lnTo>
                <a:lnTo>
                  <a:pt x="7109" y="2507"/>
                </a:lnTo>
                <a:lnTo>
                  <a:pt x="7107" y="2518"/>
                </a:lnTo>
                <a:lnTo>
                  <a:pt x="7106" y="2530"/>
                </a:lnTo>
                <a:lnTo>
                  <a:pt x="7105" y="2540"/>
                </a:lnTo>
                <a:lnTo>
                  <a:pt x="7106" y="2551"/>
                </a:lnTo>
                <a:lnTo>
                  <a:pt x="7108" y="2560"/>
                </a:lnTo>
                <a:lnTo>
                  <a:pt x="7112" y="2570"/>
                </a:lnTo>
                <a:lnTo>
                  <a:pt x="7117" y="2580"/>
                </a:lnTo>
                <a:lnTo>
                  <a:pt x="7124" y="2588"/>
                </a:lnTo>
                <a:lnTo>
                  <a:pt x="7133" y="2597"/>
                </a:lnTo>
                <a:lnTo>
                  <a:pt x="7145" y="2604"/>
                </a:lnTo>
                <a:lnTo>
                  <a:pt x="7159" y="2609"/>
                </a:lnTo>
                <a:lnTo>
                  <a:pt x="7199" y="2626"/>
                </a:lnTo>
                <a:lnTo>
                  <a:pt x="7239" y="2641"/>
                </a:lnTo>
                <a:lnTo>
                  <a:pt x="7280" y="2655"/>
                </a:lnTo>
                <a:lnTo>
                  <a:pt x="7320" y="2669"/>
                </a:lnTo>
                <a:lnTo>
                  <a:pt x="7360" y="2682"/>
                </a:lnTo>
                <a:lnTo>
                  <a:pt x="7401" y="2693"/>
                </a:lnTo>
                <a:lnTo>
                  <a:pt x="7441" y="2704"/>
                </a:lnTo>
                <a:lnTo>
                  <a:pt x="7482" y="2713"/>
                </a:lnTo>
                <a:lnTo>
                  <a:pt x="7522" y="2722"/>
                </a:lnTo>
                <a:lnTo>
                  <a:pt x="7562" y="2729"/>
                </a:lnTo>
                <a:lnTo>
                  <a:pt x="7603" y="2736"/>
                </a:lnTo>
                <a:lnTo>
                  <a:pt x="7643" y="2741"/>
                </a:lnTo>
                <a:lnTo>
                  <a:pt x="7682" y="2745"/>
                </a:lnTo>
                <a:lnTo>
                  <a:pt x="7722" y="2749"/>
                </a:lnTo>
                <a:lnTo>
                  <a:pt x="7760" y="2751"/>
                </a:lnTo>
                <a:lnTo>
                  <a:pt x="7798" y="2752"/>
                </a:lnTo>
                <a:lnTo>
                  <a:pt x="7834" y="2751"/>
                </a:lnTo>
                <a:lnTo>
                  <a:pt x="7870" y="2750"/>
                </a:lnTo>
                <a:lnTo>
                  <a:pt x="7906" y="2746"/>
                </a:lnTo>
                <a:lnTo>
                  <a:pt x="7941" y="2743"/>
                </a:lnTo>
                <a:lnTo>
                  <a:pt x="7976" y="2739"/>
                </a:lnTo>
                <a:lnTo>
                  <a:pt x="8011" y="2733"/>
                </a:lnTo>
                <a:lnTo>
                  <a:pt x="8045" y="2726"/>
                </a:lnTo>
                <a:lnTo>
                  <a:pt x="8079" y="2718"/>
                </a:lnTo>
                <a:lnTo>
                  <a:pt x="8112" y="2709"/>
                </a:lnTo>
                <a:lnTo>
                  <a:pt x="8145" y="2699"/>
                </a:lnTo>
                <a:lnTo>
                  <a:pt x="8177" y="2688"/>
                </a:lnTo>
                <a:lnTo>
                  <a:pt x="8209" y="2675"/>
                </a:lnTo>
                <a:lnTo>
                  <a:pt x="8240" y="2661"/>
                </a:lnTo>
                <a:lnTo>
                  <a:pt x="8269" y="2646"/>
                </a:lnTo>
                <a:lnTo>
                  <a:pt x="8298" y="2629"/>
                </a:lnTo>
                <a:lnTo>
                  <a:pt x="8326" y="2612"/>
                </a:lnTo>
                <a:lnTo>
                  <a:pt x="8352" y="2593"/>
                </a:lnTo>
                <a:lnTo>
                  <a:pt x="8378" y="2573"/>
                </a:lnTo>
                <a:lnTo>
                  <a:pt x="8402" y="2552"/>
                </a:lnTo>
                <a:lnTo>
                  <a:pt x="8425" y="2529"/>
                </a:lnTo>
                <a:lnTo>
                  <a:pt x="8446" y="2504"/>
                </a:lnTo>
                <a:lnTo>
                  <a:pt x="8466" y="2479"/>
                </a:lnTo>
                <a:lnTo>
                  <a:pt x="8484" y="2452"/>
                </a:lnTo>
                <a:lnTo>
                  <a:pt x="8501" y="2423"/>
                </a:lnTo>
                <a:lnTo>
                  <a:pt x="8516" y="2394"/>
                </a:lnTo>
                <a:lnTo>
                  <a:pt x="8530" y="2363"/>
                </a:lnTo>
                <a:lnTo>
                  <a:pt x="8541" y="2330"/>
                </a:lnTo>
                <a:lnTo>
                  <a:pt x="8551" y="2296"/>
                </a:lnTo>
                <a:lnTo>
                  <a:pt x="8558" y="2260"/>
                </a:lnTo>
                <a:lnTo>
                  <a:pt x="8564" y="2222"/>
                </a:lnTo>
                <a:lnTo>
                  <a:pt x="8567" y="2183"/>
                </a:lnTo>
                <a:lnTo>
                  <a:pt x="8568" y="2143"/>
                </a:lnTo>
                <a:lnTo>
                  <a:pt x="8568" y="2119"/>
                </a:lnTo>
                <a:lnTo>
                  <a:pt x="8567" y="2096"/>
                </a:lnTo>
                <a:lnTo>
                  <a:pt x="8565" y="2074"/>
                </a:lnTo>
                <a:lnTo>
                  <a:pt x="8562" y="2051"/>
                </a:lnTo>
                <a:lnTo>
                  <a:pt x="8557" y="2030"/>
                </a:lnTo>
                <a:lnTo>
                  <a:pt x="8553" y="2009"/>
                </a:lnTo>
                <a:lnTo>
                  <a:pt x="8548" y="1989"/>
                </a:lnTo>
                <a:lnTo>
                  <a:pt x="8541" y="1968"/>
                </a:lnTo>
                <a:lnTo>
                  <a:pt x="8535" y="1949"/>
                </a:lnTo>
                <a:lnTo>
                  <a:pt x="8528" y="1930"/>
                </a:lnTo>
                <a:lnTo>
                  <a:pt x="8519" y="1912"/>
                </a:lnTo>
                <a:lnTo>
                  <a:pt x="8511" y="1894"/>
                </a:lnTo>
                <a:lnTo>
                  <a:pt x="8501" y="1877"/>
                </a:lnTo>
                <a:lnTo>
                  <a:pt x="8492" y="1860"/>
                </a:lnTo>
                <a:lnTo>
                  <a:pt x="8481" y="1844"/>
                </a:lnTo>
                <a:lnTo>
                  <a:pt x="8469" y="1828"/>
                </a:lnTo>
                <a:lnTo>
                  <a:pt x="8457" y="1813"/>
                </a:lnTo>
                <a:lnTo>
                  <a:pt x="8445" y="1798"/>
                </a:lnTo>
                <a:lnTo>
                  <a:pt x="8432" y="1785"/>
                </a:lnTo>
                <a:lnTo>
                  <a:pt x="8418" y="1772"/>
                </a:lnTo>
                <a:lnTo>
                  <a:pt x="8404" y="1758"/>
                </a:lnTo>
                <a:lnTo>
                  <a:pt x="8391" y="1746"/>
                </a:lnTo>
                <a:lnTo>
                  <a:pt x="8376" y="1734"/>
                </a:lnTo>
                <a:lnTo>
                  <a:pt x="8360" y="1723"/>
                </a:lnTo>
                <a:lnTo>
                  <a:pt x="8344" y="1711"/>
                </a:lnTo>
                <a:lnTo>
                  <a:pt x="8328" y="1701"/>
                </a:lnTo>
                <a:lnTo>
                  <a:pt x="8312" y="1691"/>
                </a:lnTo>
                <a:lnTo>
                  <a:pt x="8295" y="1682"/>
                </a:lnTo>
                <a:lnTo>
                  <a:pt x="8277" y="1673"/>
                </a:lnTo>
                <a:lnTo>
                  <a:pt x="8260" y="1665"/>
                </a:lnTo>
                <a:lnTo>
                  <a:pt x="8242" y="1657"/>
                </a:lnTo>
                <a:lnTo>
                  <a:pt x="8224" y="1650"/>
                </a:lnTo>
                <a:close/>
                <a:moveTo>
                  <a:pt x="13239" y="856"/>
                </a:moveTo>
                <a:lnTo>
                  <a:pt x="12950" y="856"/>
                </a:lnTo>
                <a:lnTo>
                  <a:pt x="12902" y="856"/>
                </a:lnTo>
                <a:lnTo>
                  <a:pt x="12785" y="856"/>
                </a:lnTo>
                <a:lnTo>
                  <a:pt x="12785" y="954"/>
                </a:lnTo>
                <a:lnTo>
                  <a:pt x="12785" y="1137"/>
                </a:lnTo>
                <a:lnTo>
                  <a:pt x="12785" y="2083"/>
                </a:lnTo>
                <a:lnTo>
                  <a:pt x="12765" y="2099"/>
                </a:lnTo>
                <a:lnTo>
                  <a:pt x="12744" y="2115"/>
                </a:lnTo>
                <a:lnTo>
                  <a:pt x="12722" y="2130"/>
                </a:lnTo>
                <a:lnTo>
                  <a:pt x="12698" y="2144"/>
                </a:lnTo>
                <a:lnTo>
                  <a:pt x="12675" y="2157"/>
                </a:lnTo>
                <a:lnTo>
                  <a:pt x="12650" y="2169"/>
                </a:lnTo>
                <a:lnTo>
                  <a:pt x="12626" y="2180"/>
                </a:lnTo>
                <a:lnTo>
                  <a:pt x="12600" y="2191"/>
                </a:lnTo>
                <a:lnTo>
                  <a:pt x="12576" y="2199"/>
                </a:lnTo>
                <a:lnTo>
                  <a:pt x="12551" y="2207"/>
                </a:lnTo>
                <a:lnTo>
                  <a:pt x="12525" y="2214"/>
                </a:lnTo>
                <a:lnTo>
                  <a:pt x="12499" y="2219"/>
                </a:lnTo>
                <a:lnTo>
                  <a:pt x="12475" y="2224"/>
                </a:lnTo>
                <a:lnTo>
                  <a:pt x="12451" y="2227"/>
                </a:lnTo>
                <a:lnTo>
                  <a:pt x="12426" y="2229"/>
                </a:lnTo>
                <a:lnTo>
                  <a:pt x="12403" y="2230"/>
                </a:lnTo>
                <a:lnTo>
                  <a:pt x="12387" y="2229"/>
                </a:lnTo>
                <a:lnTo>
                  <a:pt x="12372" y="2228"/>
                </a:lnTo>
                <a:lnTo>
                  <a:pt x="12358" y="2227"/>
                </a:lnTo>
                <a:lnTo>
                  <a:pt x="12344" y="2225"/>
                </a:lnTo>
                <a:lnTo>
                  <a:pt x="12332" y="2221"/>
                </a:lnTo>
                <a:lnTo>
                  <a:pt x="12320" y="2218"/>
                </a:lnTo>
                <a:lnTo>
                  <a:pt x="12308" y="2215"/>
                </a:lnTo>
                <a:lnTo>
                  <a:pt x="12297" y="2210"/>
                </a:lnTo>
                <a:lnTo>
                  <a:pt x="12287" y="2205"/>
                </a:lnTo>
                <a:lnTo>
                  <a:pt x="12277" y="2199"/>
                </a:lnTo>
                <a:lnTo>
                  <a:pt x="12269" y="2194"/>
                </a:lnTo>
                <a:lnTo>
                  <a:pt x="12260" y="2187"/>
                </a:lnTo>
                <a:lnTo>
                  <a:pt x="12253" y="2180"/>
                </a:lnTo>
                <a:lnTo>
                  <a:pt x="12245" y="2173"/>
                </a:lnTo>
                <a:lnTo>
                  <a:pt x="12238" y="2164"/>
                </a:lnTo>
                <a:lnTo>
                  <a:pt x="12232" y="2156"/>
                </a:lnTo>
                <a:lnTo>
                  <a:pt x="12226" y="2147"/>
                </a:lnTo>
                <a:lnTo>
                  <a:pt x="12221" y="2137"/>
                </a:lnTo>
                <a:lnTo>
                  <a:pt x="12216" y="2128"/>
                </a:lnTo>
                <a:lnTo>
                  <a:pt x="12211" y="2117"/>
                </a:lnTo>
                <a:lnTo>
                  <a:pt x="12204" y="2096"/>
                </a:lnTo>
                <a:lnTo>
                  <a:pt x="12198" y="2073"/>
                </a:lnTo>
                <a:lnTo>
                  <a:pt x="12193" y="2048"/>
                </a:lnTo>
                <a:lnTo>
                  <a:pt x="12190" y="2023"/>
                </a:lnTo>
                <a:lnTo>
                  <a:pt x="12189" y="1995"/>
                </a:lnTo>
                <a:lnTo>
                  <a:pt x="12188" y="1966"/>
                </a:lnTo>
                <a:lnTo>
                  <a:pt x="12188" y="954"/>
                </a:lnTo>
                <a:lnTo>
                  <a:pt x="12188" y="939"/>
                </a:lnTo>
                <a:lnTo>
                  <a:pt x="12187" y="926"/>
                </a:lnTo>
                <a:lnTo>
                  <a:pt x="12185" y="915"/>
                </a:lnTo>
                <a:lnTo>
                  <a:pt x="12182" y="905"/>
                </a:lnTo>
                <a:lnTo>
                  <a:pt x="12177" y="895"/>
                </a:lnTo>
                <a:lnTo>
                  <a:pt x="12173" y="888"/>
                </a:lnTo>
                <a:lnTo>
                  <a:pt x="12167" y="880"/>
                </a:lnTo>
                <a:lnTo>
                  <a:pt x="12160" y="875"/>
                </a:lnTo>
                <a:lnTo>
                  <a:pt x="12153" y="870"/>
                </a:lnTo>
                <a:lnTo>
                  <a:pt x="12145" y="865"/>
                </a:lnTo>
                <a:lnTo>
                  <a:pt x="12136" y="862"/>
                </a:lnTo>
                <a:lnTo>
                  <a:pt x="12126" y="860"/>
                </a:lnTo>
                <a:lnTo>
                  <a:pt x="12116" y="858"/>
                </a:lnTo>
                <a:lnTo>
                  <a:pt x="12104" y="857"/>
                </a:lnTo>
                <a:lnTo>
                  <a:pt x="12092" y="856"/>
                </a:lnTo>
                <a:lnTo>
                  <a:pt x="12080" y="856"/>
                </a:lnTo>
                <a:lnTo>
                  <a:pt x="11888" y="856"/>
                </a:lnTo>
                <a:lnTo>
                  <a:pt x="11741" y="856"/>
                </a:lnTo>
                <a:lnTo>
                  <a:pt x="11625" y="856"/>
                </a:lnTo>
                <a:lnTo>
                  <a:pt x="11625" y="954"/>
                </a:lnTo>
                <a:lnTo>
                  <a:pt x="11625" y="1169"/>
                </a:lnTo>
                <a:lnTo>
                  <a:pt x="11625" y="2068"/>
                </a:lnTo>
                <a:lnTo>
                  <a:pt x="11626" y="2106"/>
                </a:lnTo>
                <a:lnTo>
                  <a:pt x="11628" y="2143"/>
                </a:lnTo>
                <a:lnTo>
                  <a:pt x="11630" y="2178"/>
                </a:lnTo>
                <a:lnTo>
                  <a:pt x="11634" y="2213"/>
                </a:lnTo>
                <a:lnTo>
                  <a:pt x="11638" y="2247"/>
                </a:lnTo>
                <a:lnTo>
                  <a:pt x="11645" y="2280"/>
                </a:lnTo>
                <a:lnTo>
                  <a:pt x="11652" y="2313"/>
                </a:lnTo>
                <a:lnTo>
                  <a:pt x="11661" y="2344"/>
                </a:lnTo>
                <a:lnTo>
                  <a:pt x="11669" y="2373"/>
                </a:lnTo>
                <a:lnTo>
                  <a:pt x="11680" y="2403"/>
                </a:lnTo>
                <a:lnTo>
                  <a:pt x="11692" y="2431"/>
                </a:lnTo>
                <a:lnTo>
                  <a:pt x="11705" y="2457"/>
                </a:lnTo>
                <a:lnTo>
                  <a:pt x="11719" y="2484"/>
                </a:lnTo>
                <a:lnTo>
                  <a:pt x="11734" y="2508"/>
                </a:lnTo>
                <a:lnTo>
                  <a:pt x="11751" y="2532"/>
                </a:lnTo>
                <a:lnTo>
                  <a:pt x="11768" y="2554"/>
                </a:lnTo>
                <a:lnTo>
                  <a:pt x="11787" y="2575"/>
                </a:lnTo>
                <a:lnTo>
                  <a:pt x="11807" y="2595"/>
                </a:lnTo>
                <a:lnTo>
                  <a:pt x="11829" y="2615"/>
                </a:lnTo>
                <a:lnTo>
                  <a:pt x="11851" y="2632"/>
                </a:lnTo>
                <a:lnTo>
                  <a:pt x="11874" y="2648"/>
                </a:lnTo>
                <a:lnTo>
                  <a:pt x="11900" y="2663"/>
                </a:lnTo>
                <a:lnTo>
                  <a:pt x="11925" y="2676"/>
                </a:lnTo>
                <a:lnTo>
                  <a:pt x="11953" y="2689"/>
                </a:lnTo>
                <a:lnTo>
                  <a:pt x="11982" y="2700"/>
                </a:lnTo>
                <a:lnTo>
                  <a:pt x="12012" y="2709"/>
                </a:lnTo>
                <a:lnTo>
                  <a:pt x="12042" y="2718"/>
                </a:lnTo>
                <a:lnTo>
                  <a:pt x="12075" y="2724"/>
                </a:lnTo>
                <a:lnTo>
                  <a:pt x="12109" y="2729"/>
                </a:lnTo>
                <a:lnTo>
                  <a:pt x="12144" y="2734"/>
                </a:lnTo>
                <a:lnTo>
                  <a:pt x="12181" y="2736"/>
                </a:lnTo>
                <a:lnTo>
                  <a:pt x="12219" y="2737"/>
                </a:lnTo>
                <a:lnTo>
                  <a:pt x="12259" y="2736"/>
                </a:lnTo>
                <a:lnTo>
                  <a:pt x="12301" y="2733"/>
                </a:lnTo>
                <a:lnTo>
                  <a:pt x="12341" y="2729"/>
                </a:lnTo>
                <a:lnTo>
                  <a:pt x="12381" y="2723"/>
                </a:lnTo>
                <a:lnTo>
                  <a:pt x="12421" y="2716"/>
                </a:lnTo>
                <a:lnTo>
                  <a:pt x="12460" y="2707"/>
                </a:lnTo>
                <a:lnTo>
                  <a:pt x="12499" y="2696"/>
                </a:lnTo>
                <a:lnTo>
                  <a:pt x="12537" y="2684"/>
                </a:lnTo>
                <a:lnTo>
                  <a:pt x="12575" y="2670"/>
                </a:lnTo>
                <a:lnTo>
                  <a:pt x="12611" y="2655"/>
                </a:lnTo>
                <a:lnTo>
                  <a:pt x="12648" y="2638"/>
                </a:lnTo>
                <a:lnTo>
                  <a:pt x="12683" y="2619"/>
                </a:lnTo>
                <a:lnTo>
                  <a:pt x="12718" y="2599"/>
                </a:lnTo>
                <a:lnTo>
                  <a:pt x="12753" y="2577"/>
                </a:lnTo>
                <a:lnTo>
                  <a:pt x="12787" y="2554"/>
                </a:lnTo>
                <a:lnTo>
                  <a:pt x="12819" y="2530"/>
                </a:lnTo>
                <a:lnTo>
                  <a:pt x="12819" y="2684"/>
                </a:lnTo>
                <a:lnTo>
                  <a:pt x="12928" y="2684"/>
                </a:lnTo>
                <a:lnTo>
                  <a:pt x="13128" y="2684"/>
                </a:lnTo>
                <a:lnTo>
                  <a:pt x="13232" y="2684"/>
                </a:lnTo>
                <a:lnTo>
                  <a:pt x="13249" y="2684"/>
                </a:lnTo>
                <a:lnTo>
                  <a:pt x="13263" y="2683"/>
                </a:lnTo>
                <a:lnTo>
                  <a:pt x="13277" y="2680"/>
                </a:lnTo>
                <a:lnTo>
                  <a:pt x="13288" y="2677"/>
                </a:lnTo>
                <a:lnTo>
                  <a:pt x="13299" y="2674"/>
                </a:lnTo>
                <a:lnTo>
                  <a:pt x="13309" y="2669"/>
                </a:lnTo>
                <a:lnTo>
                  <a:pt x="13317" y="2663"/>
                </a:lnTo>
                <a:lnTo>
                  <a:pt x="13324" y="2657"/>
                </a:lnTo>
                <a:lnTo>
                  <a:pt x="13331" y="2650"/>
                </a:lnTo>
                <a:lnTo>
                  <a:pt x="13336" y="2640"/>
                </a:lnTo>
                <a:lnTo>
                  <a:pt x="13340" y="2631"/>
                </a:lnTo>
                <a:lnTo>
                  <a:pt x="13344" y="2619"/>
                </a:lnTo>
                <a:lnTo>
                  <a:pt x="13346" y="2606"/>
                </a:lnTo>
                <a:lnTo>
                  <a:pt x="13348" y="2592"/>
                </a:lnTo>
                <a:lnTo>
                  <a:pt x="13349" y="2576"/>
                </a:lnTo>
                <a:lnTo>
                  <a:pt x="13349" y="2559"/>
                </a:lnTo>
                <a:lnTo>
                  <a:pt x="13349" y="954"/>
                </a:lnTo>
                <a:lnTo>
                  <a:pt x="13348" y="939"/>
                </a:lnTo>
                <a:lnTo>
                  <a:pt x="13347" y="926"/>
                </a:lnTo>
                <a:lnTo>
                  <a:pt x="13345" y="915"/>
                </a:lnTo>
                <a:lnTo>
                  <a:pt x="13341" y="905"/>
                </a:lnTo>
                <a:lnTo>
                  <a:pt x="13338" y="895"/>
                </a:lnTo>
                <a:lnTo>
                  <a:pt x="13333" y="888"/>
                </a:lnTo>
                <a:lnTo>
                  <a:pt x="13328" y="880"/>
                </a:lnTo>
                <a:lnTo>
                  <a:pt x="13321" y="875"/>
                </a:lnTo>
                <a:lnTo>
                  <a:pt x="13314" y="870"/>
                </a:lnTo>
                <a:lnTo>
                  <a:pt x="13305" y="865"/>
                </a:lnTo>
                <a:lnTo>
                  <a:pt x="13297" y="862"/>
                </a:lnTo>
                <a:lnTo>
                  <a:pt x="13287" y="860"/>
                </a:lnTo>
                <a:lnTo>
                  <a:pt x="13277" y="858"/>
                </a:lnTo>
                <a:lnTo>
                  <a:pt x="13265" y="857"/>
                </a:lnTo>
                <a:lnTo>
                  <a:pt x="13253" y="856"/>
                </a:lnTo>
                <a:lnTo>
                  <a:pt x="13239" y="856"/>
                </a:lnTo>
                <a:close/>
                <a:moveTo>
                  <a:pt x="14789" y="2162"/>
                </a:moveTo>
                <a:lnTo>
                  <a:pt x="14780" y="2175"/>
                </a:lnTo>
                <a:lnTo>
                  <a:pt x="14769" y="2186"/>
                </a:lnTo>
                <a:lnTo>
                  <a:pt x="14758" y="2198"/>
                </a:lnTo>
                <a:lnTo>
                  <a:pt x="14745" y="2210"/>
                </a:lnTo>
                <a:lnTo>
                  <a:pt x="14732" y="2220"/>
                </a:lnTo>
                <a:lnTo>
                  <a:pt x="14717" y="2231"/>
                </a:lnTo>
                <a:lnTo>
                  <a:pt x="14702" y="2241"/>
                </a:lnTo>
                <a:lnTo>
                  <a:pt x="14686" y="2249"/>
                </a:lnTo>
                <a:lnTo>
                  <a:pt x="14669" y="2256"/>
                </a:lnTo>
                <a:lnTo>
                  <a:pt x="14652" y="2264"/>
                </a:lnTo>
                <a:lnTo>
                  <a:pt x="14635" y="2270"/>
                </a:lnTo>
                <a:lnTo>
                  <a:pt x="14616" y="2276"/>
                </a:lnTo>
                <a:lnTo>
                  <a:pt x="14598" y="2280"/>
                </a:lnTo>
                <a:lnTo>
                  <a:pt x="14578" y="2283"/>
                </a:lnTo>
                <a:lnTo>
                  <a:pt x="14559" y="2285"/>
                </a:lnTo>
                <a:lnTo>
                  <a:pt x="14539" y="2285"/>
                </a:lnTo>
                <a:lnTo>
                  <a:pt x="14517" y="2285"/>
                </a:lnTo>
                <a:lnTo>
                  <a:pt x="14497" y="2283"/>
                </a:lnTo>
                <a:lnTo>
                  <a:pt x="14476" y="2280"/>
                </a:lnTo>
                <a:lnTo>
                  <a:pt x="14456" y="2276"/>
                </a:lnTo>
                <a:lnTo>
                  <a:pt x="14434" y="2270"/>
                </a:lnTo>
                <a:lnTo>
                  <a:pt x="14414" y="2264"/>
                </a:lnTo>
                <a:lnTo>
                  <a:pt x="14394" y="2258"/>
                </a:lnTo>
                <a:lnTo>
                  <a:pt x="14375" y="2249"/>
                </a:lnTo>
                <a:lnTo>
                  <a:pt x="14355" y="2241"/>
                </a:lnTo>
                <a:lnTo>
                  <a:pt x="14337" y="2231"/>
                </a:lnTo>
                <a:lnTo>
                  <a:pt x="14318" y="2221"/>
                </a:lnTo>
                <a:lnTo>
                  <a:pt x="14301" y="2211"/>
                </a:lnTo>
                <a:lnTo>
                  <a:pt x="14284" y="2200"/>
                </a:lnTo>
                <a:lnTo>
                  <a:pt x="14270" y="2188"/>
                </a:lnTo>
                <a:lnTo>
                  <a:pt x="14255" y="2177"/>
                </a:lnTo>
                <a:lnTo>
                  <a:pt x="14242" y="2165"/>
                </a:lnTo>
                <a:lnTo>
                  <a:pt x="14242" y="1400"/>
                </a:lnTo>
                <a:lnTo>
                  <a:pt x="14254" y="1388"/>
                </a:lnTo>
                <a:lnTo>
                  <a:pt x="14267" y="1375"/>
                </a:lnTo>
                <a:lnTo>
                  <a:pt x="14283" y="1364"/>
                </a:lnTo>
                <a:lnTo>
                  <a:pt x="14299" y="1352"/>
                </a:lnTo>
                <a:lnTo>
                  <a:pt x="14317" y="1340"/>
                </a:lnTo>
                <a:lnTo>
                  <a:pt x="14337" y="1330"/>
                </a:lnTo>
                <a:lnTo>
                  <a:pt x="14357" y="1319"/>
                </a:lnTo>
                <a:lnTo>
                  <a:pt x="14377" y="1308"/>
                </a:lnTo>
                <a:lnTo>
                  <a:pt x="14398" y="1299"/>
                </a:lnTo>
                <a:lnTo>
                  <a:pt x="14419" y="1290"/>
                </a:lnTo>
                <a:lnTo>
                  <a:pt x="14442" y="1283"/>
                </a:lnTo>
                <a:lnTo>
                  <a:pt x="14464" y="1277"/>
                </a:lnTo>
                <a:lnTo>
                  <a:pt x="14485" y="1272"/>
                </a:lnTo>
                <a:lnTo>
                  <a:pt x="14508" y="1268"/>
                </a:lnTo>
                <a:lnTo>
                  <a:pt x="14529" y="1266"/>
                </a:lnTo>
                <a:lnTo>
                  <a:pt x="14549" y="1265"/>
                </a:lnTo>
                <a:lnTo>
                  <a:pt x="14568" y="1265"/>
                </a:lnTo>
                <a:lnTo>
                  <a:pt x="14587" y="1267"/>
                </a:lnTo>
                <a:lnTo>
                  <a:pt x="14606" y="1269"/>
                </a:lnTo>
                <a:lnTo>
                  <a:pt x="14625" y="1272"/>
                </a:lnTo>
                <a:lnTo>
                  <a:pt x="14643" y="1277"/>
                </a:lnTo>
                <a:lnTo>
                  <a:pt x="14660" y="1282"/>
                </a:lnTo>
                <a:lnTo>
                  <a:pt x="14678" y="1288"/>
                </a:lnTo>
                <a:lnTo>
                  <a:pt x="14695" y="1296"/>
                </a:lnTo>
                <a:lnTo>
                  <a:pt x="14712" y="1304"/>
                </a:lnTo>
                <a:lnTo>
                  <a:pt x="14728" y="1315"/>
                </a:lnTo>
                <a:lnTo>
                  <a:pt x="14744" y="1325"/>
                </a:lnTo>
                <a:lnTo>
                  <a:pt x="14759" y="1338"/>
                </a:lnTo>
                <a:lnTo>
                  <a:pt x="14772" y="1351"/>
                </a:lnTo>
                <a:lnTo>
                  <a:pt x="14786" y="1366"/>
                </a:lnTo>
                <a:lnTo>
                  <a:pt x="14800" y="1383"/>
                </a:lnTo>
                <a:lnTo>
                  <a:pt x="14812" y="1400"/>
                </a:lnTo>
                <a:lnTo>
                  <a:pt x="14821" y="1416"/>
                </a:lnTo>
                <a:lnTo>
                  <a:pt x="14831" y="1432"/>
                </a:lnTo>
                <a:lnTo>
                  <a:pt x="14839" y="1449"/>
                </a:lnTo>
                <a:lnTo>
                  <a:pt x="14848" y="1468"/>
                </a:lnTo>
                <a:lnTo>
                  <a:pt x="14855" y="1487"/>
                </a:lnTo>
                <a:lnTo>
                  <a:pt x="14863" y="1507"/>
                </a:lnTo>
                <a:lnTo>
                  <a:pt x="14869" y="1530"/>
                </a:lnTo>
                <a:lnTo>
                  <a:pt x="14876" y="1552"/>
                </a:lnTo>
                <a:lnTo>
                  <a:pt x="14881" y="1575"/>
                </a:lnTo>
                <a:lnTo>
                  <a:pt x="14885" y="1601"/>
                </a:lnTo>
                <a:lnTo>
                  <a:pt x="14889" y="1626"/>
                </a:lnTo>
                <a:lnTo>
                  <a:pt x="14893" y="1653"/>
                </a:lnTo>
                <a:lnTo>
                  <a:pt x="14895" y="1682"/>
                </a:lnTo>
                <a:lnTo>
                  <a:pt x="14897" y="1710"/>
                </a:lnTo>
                <a:lnTo>
                  <a:pt x="14898" y="1740"/>
                </a:lnTo>
                <a:lnTo>
                  <a:pt x="14899" y="1772"/>
                </a:lnTo>
                <a:lnTo>
                  <a:pt x="14898" y="1804"/>
                </a:lnTo>
                <a:lnTo>
                  <a:pt x="14897" y="1833"/>
                </a:lnTo>
                <a:lnTo>
                  <a:pt x="14895" y="1863"/>
                </a:lnTo>
                <a:lnTo>
                  <a:pt x="14893" y="1891"/>
                </a:lnTo>
                <a:lnTo>
                  <a:pt x="14888" y="1919"/>
                </a:lnTo>
                <a:lnTo>
                  <a:pt x="14884" y="1944"/>
                </a:lnTo>
                <a:lnTo>
                  <a:pt x="14879" y="1970"/>
                </a:lnTo>
                <a:lnTo>
                  <a:pt x="14872" y="1993"/>
                </a:lnTo>
                <a:lnTo>
                  <a:pt x="14865" y="2016"/>
                </a:lnTo>
                <a:lnTo>
                  <a:pt x="14857" y="2040"/>
                </a:lnTo>
                <a:lnTo>
                  <a:pt x="14848" y="2061"/>
                </a:lnTo>
                <a:lnTo>
                  <a:pt x="14838" y="2082"/>
                </a:lnTo>
                <a:lnTo>
                  <a:pt x="14828" y="2102"/>
                </a:lnTo>
                <a:lnTo>
                  <a:pt x="14816" y="2123"/>
                </a:lnTo>
                <a:lnTo>
                  <a:pt x="14803" y="2143"/>
                </a:lnTo>
                <a:lnTo>
                  <a:pt x="14789" y="2162"/>
                </a:lnTo>
                <a:close/>
                <a:moveTo>
                  <a:pt x="15243" y="1036"/>
                </a:moveTo>
                <a:lnTo>
                  <a:pt x="15221" y="1012"/>
                </a:lnTo>
                <a:lnTo>
                  <a:pt x="15197" y="990"/>
                </a:lnTo>
                <a:lnTo>
                  <a:pt x="15171" y="967"/>
                </a:lnTo>
                <a:lnTo>
                  <a:pt x="15143" y="946"/>
                </a:lnTo>
                <a:lnTo>
                  <a:pt x="15116" y="927"/>
                </a:lnTo>
                <a:lnTo>
                  <a:pt x="15086" y="908"/>
                </a:lnTo>
                <a:lnTo>
                  <a:pt x="15054" y="890"/>
                </a:lnTo>
                <a:lnTo>
                  <a:pt x="15022" y="874"/>
                </a:lnTo>
                <a:lnTo>
                  <a:pt x="14987" y="859"/>
                </a:lnTo>
                <a:lnTo>
                  <a:pt x="14951" y="846"/>
                </a:lnTo>
                <a:lnTo>
                  <a:pt x="14933" y="840"/>
                </a:lnTo>
                <a:lnTo>
                  <a:pt x="14914" y="835"/>
                </a:lnTo>
                <a:lnTo>
                  <a:pt x="14894" y="829"/>
                </a:lnTo>
                <a:lnTo>
                  <a:pt x="14873" y="825"/>
                </a:lnTo>
                <a:lnTo>
                  <a:pt x="14853" y="821"/>
                </a:lnTo>
                <a:lnTo>
                  <a:pt x="14832" y="818"/>
                </a:lnTo>
                <a:lnTo>
                  <a:pt x="14811" y="814"/>
                </a:lnTo>
                <a:lnTo>
                  <a:pt x="14788" y="812"/>
                </a:lnTo>
                <a:lnTo>
                  <a:pt x="14766" y="810"/>
                </a:lnTo>
                <a:lnTo>
                  <a:pt x="14744" y="808"/>
                </a:lnTo>
                <a:lnTo>
                  <a:pt x="14720" y="808"/>
                </a:lnTo>
                <a:lnTo>
                  <a:pt x="14696" y="807"/>
                </a:lnTo>
                <a:lnTo>
                  <a:pt x="14659" y="808"/>
                </a:lnTo>
                <a:lnTo>
                  <a:pt x="14623" y="811"/>
                </a:lnTo>
                <a:lnTo>
                  <a:pt x="14586" y="816"/>
                </a:lnTo>
                <a:lnTo>
                  <a:pt x="14550" y="824"/>
                </a:lnTo>
                <a:lnTo>
                  <a:pt x="14514" y="832"/>
                </a:lnTo>
                <a:lnTo>
                  <a:pt x="14479" y="843"/>
                </a:lnTo>
                <a:lnTo>
                  <a:pt x="14445" y="855"/>
                </a:lnTo>
                <a:lnTo>
                  <a:pt x="14411" y="867"/>
                </a:lnTo>
                <a:lnTo>
                  <a:pt x="14379" y="882"/>
                </a:lnTo>
                <a:lnTo>
                  <a:pt x="14348" y="898"/>
                </a:lnTo>
                <a:lnTo>
                  <a:pt x="14320" y="914"/>
                </a:lnTo>
                <a:lnTo>
                  <a:pt x="14292" y="932"/>
                </a:lnTo>
                <a:lnTo>
                  <a:pt x="14265" y="950"/>
                </a:lnTo>
                <a:lnTo>
                  <a:pt x="14242" y="969"/>
                </a:lnTo>
                <a:lnTo>
                  <a:pt x="14220" y="990"/>
                </a:lnTo>
                <a:lnTo>
                  <a:pt x="14200" y="1010"/>
                </a:lnTo>
                <a:lnTo>
                  <a:pt x="14193" y="934"/>
                </a:lnTo>
                <a:lnTo>
                  <a:pt x="14191" y="924"/>
                </a:lnTo>
                <a:lnTo>
                  <a:pt x="14189" y="914"/>
                </a:lnTo>
                <a:lnTo>
                  <a:pt x="14186" y="906"/>
                </a:lnTo>
                <a:lnTo>
                  <a:pt x="14181" y="897"/>
                </a:lnTo>
                <a:lnTo>
                  <a:pt x="14177" y="890"/>
                </a:lnTo>
                <a:lnTo>
                  <a:pt x="14172" y="883"/>
                </a:lnTo>
                <a:lnTo>
                  <a:pt x="14165" y="878"/>
                </a:lnTo>
                <a:lnTo>
                  <a:pt x="14159" y="873"/>
                </a:lnTo>
                <a:lnTo>
                  <a:pt x="14151" y="869"/>
                </a:lnTo>
                <a:lnTo>
                  <a:pt x="14143" y="865"/>
                </a:lnTo>
                <a:lnTo>
                  <a:pt x="14134" y="862"/>
                </a:lnTo>
                <a:lnTo>
                  <a:pt x="14124" y="860"/>
                </a:lnTo>
                <a:lnTo>
                  <a:pt x="14113" y="858"/>
                </a:lnTo>
                <a:lnTo>
                  <a:pt x="14102" y="857"/>
                </a:lnTo>
                <a:lnTo>
                  <a:pt x="14090" y="856"/>
                </a:lnTo>
                <a:lnTo>
                  <a:pt x="14076" y="856"/>
                </a:lnTo>
                <a:lnTo>
                  <a:pt x="13869" y="856"/>
                </a:lnTo>
                <a:lnTo>
                  <a:pt x="13788" y="856"/>
                </a:lnTo>
                <a:lnTo>
                  <a:pt x="13678" y="856"/>
                </a:lnTo>
                <a:lnTo>
                  <a:pt x="13678" y="961"/>
                </a:lnTo>
                <a:lnTo>
                  <a:pt x="13678" y="1209"/>
                </a:lnTo>
                <a:lnTo>
                  <a:pt x="13678" y="3180"/>
                </a:lnTo>
                <a:lnTo>
                  <a:pt x="13678" y="3385"/>
                </a:lnTo>
                <a:lnTo>
                  <a:pt x="13678" y="3498"/>
                </a:lnTo>
                <a:lnTo>
                  <a:pt x="13784" y="3498"/>
                </a:lnTo>
                <a:lnTo>
                  <a:pt x="13928" y="3498"/>
                </a:lnTo>
                <a:lnTo>
                  <a:pt x="14125" y="3498"/>
                </a:lnTo>
                <a:lnTo>
                  <a:pt x="14139" y="3497"/>
                </a:lnTo>
                <a:lnTo>
                  <a:pt x="14152" y="3496"/>
                </a:lnTo>
                <a:lnTo>
                  <a:pt x="14164" y="3493"/>
                </a:lnTo>
                <a:lnTo>
                  <a:pt x="14175" y="3491"/>
                </a:lnTo>
                <a:lnTo>
                  <a:pt x="14186" y="3488"/>
                </a:lnTo>
                <a:lnTo>
                  <a:pt x="14195" y="3483"/>
                </a:lnTo>
                <a:lnTo>
                  <a:pt x="14204" y="3478"/>
                </a:lnTo>
                <a:lnTo>
                  <a:pt x="14211" y="3471"/>
                </a:lnTo>
                <a:lnTo>
                  <a:pt x="14219" y="3464"/>
                </a:lnTo>
                <a:lnTo>
                  <a:pt x="14225" y="3456"/>
                </a:lnTo>
                <a:lnTo>
                  <a:pt x="14230" y="3447"/>
                </a:lnTo>
                <a:lnTo>
                  <a:pt x="14235" y="3436"/>
                </a:lnTo>
                <a:lnTo>
                  <a:pt x="14238" y="3423"/>
                </a:lnTo>
                <a:lnTo>
                  <a:pt x="14240" y="3411"/>
                </a:lnTo>
                <a:lnTo>
                  <a:pt x="14241" y="3397"/>
                </a:lnTo>
                <a:lnTo>
                  <a:pt x="14242" y="3381"/>
                </a:lnTo>
                <a:lnTo>
                  <a:pt x="14242" y="2589"/>
                </a:lnTo>
                <a:lnTo>
                  <a:pt x="14261" y="2606"/>
                </a:lnTo>
                <a:lnTo>
                  <a:pt x="14282" y="2623"/>
                </a:lnTo>
                <a:lnTo>
                  <a:pt x="14304" y="2638"/>
                </a:lnTo>
                <a:lnTo>
                  <a:pt x="14327" y="2653"/>
                </a:lnTo>
                <a:lnTo>
                  <a:pt x="14350" y="2666"/>
                </a:lnTo>
                <a:lnTo>
                  <a:pt x="14376" y="2678"/>
                </a:lnTo>
                <a:lnTo>
                  <a:pt x="14401" y="2689"/>
                </a:lnTo>
                <a:lnTo>
                  <a:pt x="14428" y="2700"/>
                </a:lnTo>
                <a:lnTo>
                  <a:pt x="14456" y="2709"/>
                </a:lnTo>
                <a:lnTo>
                  <a:pt x="14483" y="2717"/>
                </a:lnTo>
                <a:lnTo>
                  <a:pt x="14512" y="2724"/>
                </a:lnTo>
                <a:lnTo>
                  <a:pt x="14541" y="2729"/>
                </a:lnTo>
                <a:lnTo>
                  <a:pt x="14570" y="2734"/>
                </a:lnTo>
                <a:lnTo>
                  <a:pt x="14600" y="2737"/>
                </a:lnTo>
                <a:lnTo>
                  <a:pt x="14631" y="2739"/>
                </a:lnTo>
                <a:lnTo>
                  <a:pt x="14662" y="2740"/>
                </a:lnTo>
                <a:lnTo>
                  <a:pt x="14684" y="2739"/>
                </a:lnTo>
                <a:lnTo>
                  <a:pt x="14708" y="2738"/>
                </a:lnTo>
                <a:lnTo>
                  <a:pt x="14729" y="2737"/>
                </a:lnTo>
                <a:lnTo>
                  <a:pt x="14751" y="2735"/>
                </a:lnTo>
                <a:lnTo>
                  <a:pt x="14772" y="2733"/>
                </a:lnTo>
                <a:lnTo>
                  <a:pt x="14795" y="2729"/>
                </a:lnTo>
                <a:lnTo>
                  <a:pt x="14815" y="2726"/>
                </a:lnTo>
                <a:lnTo>
                  <a:pt x="14836" y="2722"/>
                </a:lnTo>
                <a:lnTo>
                  <a:pt x="14856" y="2717"/>
                </a:lnTo>
                <a:lnTo>
                  <a:pt x="14877" y="2711"/>
                </a:lnTo>
                <a:lnTo>
                  <a:pt x="14897" y="2706"/>
                </a:lnTo>
                <a:lnTo>
                  <a:pt x="14917" y="2700"/>
                </a:lnTo>
                <a:lnTo>
                  <a:pt x="14936" y="2693"/>
                </a:lnTo>
                <a:lnTo>
                  <a:pt x="14955" y="2686"/>
                </a:lnTo>
                <a:lnTo>
                  <a:pt x="14973" y="2678"/>
                </a:lnTo>
                <a:lnTo>
                  <a:pt x="14993" y="2670"/>
                </a:lnTo>
                <a:lnTo>
                  <a:pt x="15011" y="2661"/>
                </a:lnTo>
                <a:lnTo>
                  <a:pt x="15029" y="2652"/>
                </a:lnTo>
                <a:lnTo>
                  <a:pt x="15046" y="2642"/>
                </a:lnTo>
                <a:lnTo>
                  <a:pt x="15063" y="2633"/>
                </a:lnTo>
                <a:lnTo>
                  <a:pt x="15080" y="2622"/>
                </a:lnTo>
                <a:lnTo>
                  <a:pt x="15097" y="2611"/>
                </a:lnTo>
                <a:lnTo>
                  <a:pt x="15113" y="2600"/>
                </a:lnTo>
                <a:lnTo>
                  <a:pt x="15129" y="2588"/>
                </a:lnTo>
                <a:lnTo>
                  <a:pt x="15145" y="2575"/>
                </a:lnTo>
                <a:lnTo>
                  <a:pt x="15159" y="2563"/>
                </a:lnTo>
                <a:lnTo>
                  <a:pt x="15174" y="2549"/>
                </a:lnTo>
                <a:lnTo>
                  <a:pt x="15189" y="2536"/>
                </a:lnTo>
                <a:lnTo>
                  <a:pt x="15217" y="2507"/>
                </a:lnTo>
                <a:lnTo>
                  <a:pt x="15243" y="2476"/>
                </a:lnTo>
                <a:lnTo>
                  <a:pt x="15258" y="2459"/>
                </a:lnTo>
                <a:lnTo>
                  <a:pt x="15272" y="2441"/>
                </a:lnTo>
                <a:lnTo>
                  <a:pt x="15286" y="2423"/>
                </a:lnTo>
                <a:lnTo>
                  <a:pt x="15300" y="2404"/>
                </a:lnTo>
                <a:lnTo>
                  <a:pt x="15313" y="2385"/>
                </a:lnTo>
                <a:lnTo>
                  <a:pt x="15324" y="2366"/>
                </a:lnTo>
                <a:lnTo>
                  <a:pt x="15336" y="2346"/>
                </a:lnTo>
                <a:lnTo>
                  <a:pt x="15348" y="2324"/>
                </a:lnTo>
                <a:lnTo>
                  <a:pt x="15359" y="2304"/>
                </a:lnTo>
                <a:lnTo>
                  <a:pt x="15369" y="2283"/>
                </a:lnTo>
                <a:lnTo>
                  <a:pt x="15379" y="2262"/>
                </a:lnTo>
                <a:lnTo>
                  <a:pt x="15389" y="2239"/>
                </a:lnTo>
                <a:lnTo>
                  <a:pt x="15399" y="2217"/>
                </a:lnTo>
                <a:lnTo>
                  <a:pt x="15407" y="2195"/>
                </a:lnTo>
                <a:lnTo>
                  <a:pt x="15416" y="2171"/>
                </a:lnTo>
                <a:lnTo>
                  <a:pt x="15423" y="2148"/>
                </a:lnTo>
                <a:lnTo>
                  <a:pt x="15437" y="2100"/>
                </a:lnTo>
                <a:lnTo>
                  <a:pt x="15450" y="2051"/>
                </a:lnTo>
                <a:lnTo>
                  <a:pt x="15460" y="2001"/>
                </a:lnTo>
                <a:lnTo>
                  <a:pt x="15469" y="1950"/>
                </a:lnTo>
                <a:lnTo>
                  <a:pt x="15475" y="1899"/>
                </a:lnTo>
                <a:lnTo>
                  <a:pt x="15480" y="1846"/>
                </a:lnTo>
                <a:lnTo>
                  <a:pt x="15483" y="1792"/>
                </a:lnTo>
                <a:lnTo>
                  <a:pt x="15484" y="1738"/>
                </a:lnTo>
                <a:lnTo>
                  <a:pt x="15483" y="1689"/>
                </a:lnTo>
                <a:lnTo>
                  <a:pt x="15480" y="1640"/>
                </a:lnTo>
                <a:lnTo>
                  <a:pt x="15476" y="1591"/>
                </a:lnTo>
                <a:lnTo>
                  <a:pt x="15470" y="1543"/>
                </a:lnTo>
                <a:lnTo>
                  <a:pt x="15461" y="1496"/>
                </a:lnTo>
                <a:lnTo>
                  <a:pt x="15452" y="1448"/>
                </a:lnTo>
                <a:lnTo>
                  <a:pt x="15440" y="1401"/>
                </a:lnTo>
                <a:lnTo>
                  <a:pt x="15426" y="1354"/>
                </a:lnTo>
                <a:lnTo>
                  <a:pt x="15418" y="1332"/>
                </a:lnTo>
                <a:lnTo>
                  <a:pt x="15410" y="1310"/>
                </a:lnTo>
                <a:lnTo>
                  <a:pt x="15402" y="1287"/>
                </a:lnTo>
                <a:lnTo>
                  <a:pt x="15392" y="1266"/>
                </a:lnTo>
                <a:lnTo>
                  <a:pt x="15383" y="1245"/>
                </a:lnTo>
                <a:lnTo>
                  <a:pt x="15373" y="1223"/>
                </a:lnTo>
                <a:lnTo>
                  <a:pt x="15362" y="1202"/>
                </a:lnTo>
                <a:lnTo>
                  <a:pt x="15351" y="1182"/>
                </a:lnTo>
                <a:lnTo>
                  <a:pt x="15339" y="1162"/>
                </a:lnTo>
                <a:lnTo>
                  <a:pt x="15327" y="1143"/>
                </a:lnTo>
                <a:lnTo>
                  <a:pt x="15315" y="1124"/>
                </a:lnTo>
                <a:lnTo>
                  <a:pt x="15302" y="1106"/>
                </a:lnTo>
                <a:lnTo>
                  <a:pt x="15288" y="1087"/>
                </a:lnTo>
                <a:lnTo>
                  <a:pt x="15274" y="1069"/>
                </a:lnTo>
                <a:lnTo>
                  <a:pt x="15259" y="1052"/>
                </a:lnTo>
                <a:lnTo>
                  <a:pt x="15243" y="1036"/>
                </a:lnTo>
                <a:close/>
              </a:path>
            </a:pathLst>
          </a:custGeom>
          <a:solidFill>
            <a:srgbClr val="BC0033"/>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2144539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50000"/>
                  </a:schemeClr>
                </a:solidFill>
              </a:defRPr>
            </a:lvl1pPr>
          </a:lstStyle>
          <a:p>
            <a:r>
              <a:rPr lang="en-US"/>
              <a:t>Click to edit Master title style</a:t>
            </a:r>
            <a:endParaRPr lang="en-GB"/>
          </a:p>
        </p:txBody>
      </p:sp>
      <p:sp>
        <p:nvSpPr>
          <p:cNvPr id="5" name="Date Placeholder 4"/>
          <p:cNvSpPr>
            <a:spLocks noGrp="1"/>
          </p:cNvSpPr>
          <p:nvPr>
            <p:ph type="dt" sz="half" idx="10"/>
          </p:nvPr>
        </p:nvSpPr>
        <p:spPr/>
        <p:txBody>
          <a:bodyPr/>
          <a:lstStyle>
            <a:lvl1pPr algn="r">
              <a:defRPr/>
            </a:lvl1pPr>
          </a:lstStyle>
          <a:p>
            <a:r>
              <a:rPr lang="da-DK"/>
              <a:t>&lt;DD Month YYYY&gt;</a:t>
            </a:r>
            <a:endParaRPr lang="en-US"/>
          </a:p>
        </p:txBody>
      </p:sp>
      <p:sp>
        <p:nvSpPr>
          <p:cNvPr id="6" name="Footer Placeholder 5"/>
          <p:cNvSpPr>
            <a:spLocks noGrp="1"/>
          </p:cNvSpPr>
          <p:nvPr>
            <p:ph type="ftr" sz="quarter" idx="11"/>
          </p:nvPr>
        </p:nvSpPr>
        <p:spPr/>
        <p:txBody>
          <a:bodyPr/>
          <a:lstStyle>
            <a:lvl1pPr>
              <a:defRPr>
                <a:solidFill>
                  <a:schemeClr val="tx1">
                    <a:lumMod val="50000"/>
                  </a:schemeClr>
                </a:solidFill>
              </a:defRPr>
            </a:lvl1pPr>
          </a:lstStyle>
          <a:p>
            <a:r>
              <a:rPr lang="en-US"/>
              <a:t>&lt;Footer&gt;</a:t>
            </a:r>
            <a:endParaRPr lang="en-GB"/>
          </a:p>
        </p:txBody>
      </p:sp>
      <p:sp>
        <p:nvSpPr>
          <p:cNvPr id="7" name="Slide Number Placeholder 6"/>
          <p:cNvSpPr>
            <a:spLocks noGrp="1"/>
          </p:cNvSpPr>
          <p:nvPr>
            <p:ph type="sldNum" sz="quarter" idx="12"/>
          </p:nvPr>
        </p:nvSpPr>
        <p:spPr/>
        <p:txBody>
          <a:bodyPr/>
          <a:lstStyle/>
          <a:p>
            <a:fld id="{8EFF3B3A-7EEA-5E44-8ED8-372942253657}" type="slidenum">
              <a:rPr/>
              <a:pPr/>
              <a:t>‹#›</a:t>
            </a:fld>
            <a:endParaRPr lang="en-GB"/>
          </a:p>
        </p:txBody>
      </p:sp>
      <p:sp>
        <p:nvSpPr>
          <p:cNvPr id="8" name="Content Placeholder 2"/>
          <p:cNvSpPr>
            <a:spLocks noGrp="1"/>
          </p:cNvSpPr>
          <p:nvPr>
            <p:ph idx="1"/>
          </p:nvPr>
        </p:nvSpPr>
        <p:spPr>
          <a:xfrm>
            <a:off x="664633" y="1108803"/>
            <a:ext cx="5352000" cy="4984924"/>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3"/>
          </p:nvPr>
        </p:nvSpPr>
        <p:spPr>
          <a:xfrm>
            <a:off x="6180668" y="1108803"/>
            <a:ext cx="5350933" cy="4984924"/>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80378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Cases stories left">
    <p:spTree>
      <p:nvGrpSpPr>
        <p:cNvPr id="1" name=""/>
        <p:cNvGrpSpPr/>
        <p:nvPr/>
      </p:nvGrpSpPr>
      <p:grpSpPr>
        <a:xfrm>
          <a:off x="0" y="0"/>
          <a:ext cx="0" cy="0"/>
          <a:chOff x="0" y="0"/>
          <a:chExt cx="0" cy="0"/>
        </a:xfrm>
      </p:grpSpPr>
      <p:sp>
        <p:nvSpPr>
          <p:cNvPr id="22" name="Pladsholder til billede 2">
            <a:extLst>
              <a:ext uri="{FF2B5EF4-FFF2-40B4-BE49-F238E27FC236}">
                <a16:creationId xmlns:a16="http://schemas.microsoft.com/office/drawing/2014/main" id="{A4520766-1A0F-4DD5-9F7C-65B6C30C4267}"/>
              </a:ext>
            </a:extLst>
          </p:cNvPr>
          <p:cNvSpPr>
            <a:spLocks noGrp="1"/>
          </p:cNvSpPr>
          <p:nvPr>
            <p:ph type="pic" sz="quarter" idx="20" hasCustomPrompt="1"/>
          </p:nvPr>
        </p:nvSpPr>
        <p:spPr>
          <a:xfrm>
            <a:off x="6096001" y="0"/>
            <a:ext cx="6096000" cy="6858000"/>
          </a:xfrm>
          <a:solidFill>
            <a:srgbClr val="A6A6A6"/>
          </a:solidFill>
        </p:spPr>
        <p:txBody>
          <a:bodyPr/>
          <a:lstStyle>
            <a:lvl1pPr rtl="0">
              <a:defRPr b="0" i="1">
                <a:solidFill>
                  <a:schemeClr val="bg1"/>
                </a:solidFill>
              </a:defRPr>
            </a:lvl1pPr>
          </a:lstStyle>
          <a:p>
            <a:r>
              <a:rPr lang="da-DK"/>
              <a:t>Image</a:t>
            </a:r>
          </a:p>
        </p:txBody>
      </p:sp>
      <p:sp>
        <p:nvSpPr>
          <p:cNvPr id="39" name="Pladsholder til tekst 16">
            <a:extLst>
              <a:ext uri="{FF2B5EF4-FFF2-40B4-BE49-F238E27FC236}">
                <a16:creationId xmlns:a16="http://schemas.microsoft.com/office/drawing/2014/main" id="{BDB091DD-7B2E-44DE-81C8-52E61ADA2A30}"/>
              </a:ext>
            </a:extLst>
          </p:cNvPr>
          <p:cNvSpPr>
            <a:spLocks noGrp="1"/>
          </p:cNvSpPr>
          <p:nvPr>
            <p:ph type="body" sz="quarter" idx="23" hasCustomPrompt="1"/>
          </p:nvPr>
        </p:nvSpPr>
        <p:spPr>
          <a:xfrm>
            <a:off x="6517412" y="4848985"/>
            <a:ext cx="1243200" cy="12701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algn="ctr">
              <a:defRPr lang="en-US" sz="1333" b="0" dirty="0" smtClean="0">
                <a:solidFill>
                  <a:schemeClr val="lt1"/>
                </a:solidFill>
                <a:latin typeface="+mn-lt"/>
                <a:cs typeface="+mn-cs"/>
              </a:defRPr>
            </a:lvl1pPr>
          </a:lstStyle>
          <a:p>
            <a:pPr lvl="0" defTabSz="609585"/>
            <a:r>
              <a:rPr lang="en-US"/>
              <a:t>BA</a:t>
            </a:r>
          </a:p>
        </p:txBody>
      </p:sp>
      <p:sp>
        <p:nvSpPr>
          <p:cNvPr id="37" name="Pladsholder til tekst 16">
            <a:extLst>
              <a:ext uri="{FF2B5EF4-FFF2-40B4-BE49-F238E27FC236}">
                <a16:creationId xmlns:a16="http://schemas.microsoft.com/office/drawing/2014/main" id="{026032D9-CC99-4B1B-87A4-46FEE5BE38DC}"/>
              </a:ext>
            </a:extLst>
          </p:cNvPr>
          <p:cNvSpPr>
            <a:spLocks noGrp="1"/>
          </p:cNvSpPr>
          <p:nvPr>
            <p:ph type="body" sz="quarter" idx="21" hasCustomPrompt="1"/>
          </p:nvPr>
        </p:nvSpPr>
        <p:spPr>
          <a:xfrm>
            <a:off x="9233143" y="4848985"/>
            <a:ext cx="1243200" cy="12701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333" b="0" dirty="0" smtClean="0">
                <a:solidFill>
                  <a:schemeClr val="lt1"/>
                </a:solidFill>
                <a:latin typeface="+mn-lt"/>
                <a:cs typeface="+mn-cs"/>
              </a:defRPr>
            </a:lvl1pPr>
          </a:lstStyle>
          <a:p>
            <a:pPr lvl="0" defTabSz="609585"/>
            <a:r>
              <a:rPr lang="en-US"/>
              <a:t>Highlight in numbers can be added here</a:t>
            </a:r>
          </a:p>
        </p:txBody>
      </p:sp>
      <p:sp>
        <p:nvSpPr>
          <p:cNvPr id="38" name="Pladsholder til tekst 16">
            <a:extLst>
              <a:ext uri="{FF2B5EF4-FFF2-40B4-BE49-F238E27FC236}">
                <a16:creationId xmlns:a16="http://schemas.microsoft.com/office/drawing/2014/main" id="{A63C3F28-0842-4CF0-80CA-121AAC88BD70}"/>
              </a:ext>
            </a:extLst>
          </p:cNvPr>
          <p:cNvSpPr>
            <a:spLocks noGrp="1"/>
          </p:cNvSpPr>
          <p:nvPr>
            <p:ph type="body" sz="quarter" idx="22" hasCustomPrompt="1"/>
          </p:nvPr>
        </p:nvSpPr>
        <p:spPr>
          <a:xfrm>
            <a:off x="10589925" y="4848985"/>
            <a:ext cx="1243200" cy="12701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333" b="0" dirty="0" smtClean="0">
                <a:solidFill>
                  <a:schemeClr val="lt1"/>
                </a:solidFill>
                <a:latin typeface="+mn-lt"/>
                <a:cs typeface="+mn-cs"/>
              </a:defRPr>
            </a:lvl1pPr>
          </a:lstStyle>
          <a:p>
            <a:pPr lvl="0" defTabSz="609585"/>
            <a:r>
              <a:rPr lang="en-US"/>
              <a:t>Highlight in numbers can be added here</a:t>
            </a:r>
          </a:p>
        </p:txBody>
      </p:sp>
      <p:pic>
        <p:nvPicPr>
          <p:cNvPr id="40" name="Picture 10">
            <a:extLst>
              <a:ext uri="{FF2B5EF4-FFF2-40B4-BE49-F238E27FC236}">
                <a16:creationId xmlns:a16="http://schemas.microsoft.com/office/drawing/2014/main" id="{5A810C73-20BE-4407-BF54-6ADE8552AD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18793" y="5082436"/>
            <a:ext cx="802831" cy="611681"/>
          </a:xfrm>
          <a:prstGeom prst="rect">
            <a:avLst/>
          </a:prstGeom>
        </p:spPr>
      </p:pic>
      <p:sp>
        <p:nvSpPr>
          <p:cNvPr id="18" name="Pladsholder til tekst 16">
            <a:extLst>
              <a:ext uri="{FF2B5EF4-FFF2-40B4-BE49-F238E27FC236}">
                <a16:creationId xmlns:a16="http://schemas.microsoft.com/office/drawing/2014/main" id="{D0A9AB39-B40A-4F3E-ADA9-6E1B49FA8B4B}"/>
              </a:ext>
            </a:extLst>
          </p:cNvPr>
          <p:cNvSpPr>
            <a:spLocks noGrp="1"/>
          </p:cNvSpPr>
          <p:nvPr>
            <p:ph type="body" sz="quarter" idx="15" hasCustomPrompt="1"/>
          </p:nvPr>
        </p:nvSpPr>
        <p:spPr>
          <a:xfrm>
            <a:off x="283409" y="4513252"/>
            <a:ext cx="5357704" cy="1723549"/>
          </a:xfrm>
        </p:spPr>
        <p:txBody>
          <a:bodyPr>
            <a:noAutofit/>
          </a:bodyPr>
          <a:lstStyle>
            <a:lvl1pPr marL="0" algn="l" defTabSz="609585" rtl="0" eaLnBrk="1" latinLnBrk="0" hangingPunct="1">
              <a:defRPr lang="da-DK" sz="1733" b="0" kern="1200" dirty="0" smtClean="0">
                <a:solidFill>
                  <a:schemeClr val="tx1"/>
                </a:solidFill>
                <a:latin typeface="+mj-lt"/>
                <a:ea typeface="+mn-ea"/>
                <a:cs typeface="+mn-cs"/>
              </a:defRPr>
            </a:lvl1pPr>
          </a:lstStyle>
          <a:p>
            <a:pPr lvl="0"/>
            <a:r>
              <a:rPr lang="en-US"/>
              <a:t>Text can be added here</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298600" y="2350922"/>
            <a:ext cx="5342513" cy="1429029"/>
          </a:xfrm>
          <a:noFill/>
        </p:spPr>
        <p:txBody>
          <a:bodyPr wrap="square" rtlCol="0" anchor="t">
            <a:noAutofit/>
          </a:bodyPr>
          <a:lstStyle>
            <a:lvl1pPr rtl="0">
              <a:defRPr lang="da-DK" sz="2400" b="1" i="1" kern="1200" dirty="0" smtClean="0">
                <a:solidFill>
                  <a:schemeClr val="bg2"/>
                </a:solidFill>
                <a:latin typeface="Calibri Light"/>
                <a:ea typeface="+mn-ea"/>
                <a:cs typeface="Calibri Light"/>
              </a:defRPr>
            </a:lvl1pPr>
          </a:lstStyle>
          <a:p>
            <a:pPr marL="0" lvl="0" defTabSz="609585"/>
            <a:r>
              <a:rPr lang="en-US"/>
              <a:t>“</a:t>
            </a:r>
            <a:r>
              <a:rPr lang="en-US" err="1"/>
              <a:t>Qoute</a:t>
            </a:r>
            <a:r>
              <a:rPr lang="en-US"/>
              <a:t> can be added here. </a:t>
            </a:r>
            <a:r>
              <a:rPr lang="en-US" err="1"/>
              <a:t>Qoute</a:t>
            </a:r>
            <a:r>
              <a:rPr lang="en-US"/>
              <a:t> can be added here. </a:t>
            </a:r>
            <a:r>
              <a:rPr lang="en-US" err="1"/>
              <a:t>Qoute</a:t>
            </a:r>
            <a:r>
              <a:rPr lang="en-US"/>
              <a:t> can be added here. </a:t>
            </a:r>
            <a:r>
              <a:rPr lang="en-US" err="1"/>
              <a:t>Qoute</a:t>
            </a:r>
            <a:r>
              <a:rPr lang="en-US"/>
              <a:t> can be added here </a:t>
            </a:r>
            <a:r>
              <a:rPr lang="en-US" err="1"/>
              <a:t>Qoute</a:t>
            </a:r>
            <a:r>
              <a:rPr lang="en-US"/>
              <a:t> can be added here.”</a:t>
            </a:r>
          </a:p>
        </p:txBody>
      </p:sp>
      <p:sp>
        <p:nvSpPr>
          <p:cNvPr id="16" name="Pladsholder til tekst 16">
            <a:extLst>
              <a:ext uri="{FF2B5EF4-FFF2-40B4-BE49-F238E27FC236}">
                <a16:creationId xmlns:a16="http://schemas.microsoft.com/office/drawing/2014/main" id="{FE5D910B-E023-4441-9C8A-35373F251F1A}"/>
              </a:ext>
            </a:extLst>
          </p:cNvPr>
          <p:cNvSpPr>
            <a:spLocks noGrp="1"/>
          </p:cNvSpPr>
          <p:nvPr>
            <p:ph type="body" sz="quarter" idx="14" hasCustomPrompt="1"/>
          </p:nvPr>
        </p:nvSpPr>
        <p:spPr>
          <a:xfrm>
            <a:off x="314476" y="3854546"/>
            <a:ext cx="5326637" cy="486177"/>
          </a:xfrm>
        </p:spPr>
        <p:txBody>
          <a:bodyPr>
            <a:noAutofit/>
          </a:bodyPr>
          <a:lstStyle>
            <a:lvl1pPr marL="0" algn="l" defTabSz="609585" rtl="0" eaLnBrk="1" latinLnBrk="0" hangingPunct="1">
              <a:defRPr lang="en-US" sz="1733" b="0" i="0" kern="1200" dirty="0" smtClean="0">
                <a:solidFill>
                  <a:schemeClr val="bg2"/>
                </a:solidFill>
                <a:latin typeface="Calibri Light"/>
                <a:ea typeface="+mn-ea"/>
                <a:cs typeface="Calibri Light"/>
              </a:defRPr>
            </a:lvl1pPr>
          </a:lstStyle>
          <a:p>
            <a:pPr lvl="0"/>
            <a:r>
              <a:rPr lang="en-US"/>
              <a:t>Name </a:t>
            </a:r>
            <a:r>
              <a:rPr lang="en-US" err="1"/>
              <a:t>Lastname</a:t>
            </a:r>
            <a:r>
              <a:rPr lang="en-US"/>
              <a:t>, Title, Company</a:t>
            </a:r>
          </a:p>
        </p:txBody>
      </p:sp>
      <mc:AlternateContent xmlns:mc="http://schemas.openxmlformats.org/markup-compatibility/2006" xmlns:p14="http://schemas.microsoft.com/office/powerpoint/2010/main">
        <mc:Choice Requires="p14">
          <p:contentPart p14:bwMode="auto" r:id="rId3">
            <p14:nvContentPartPr>
              <p14:cNvPr id="35" name="Ink 1">
                <a:extLst>
                  <a:ext uri="{FF2B5EF4-FFF2-40B4-BE49-F238E27FC236}">
                    <a16:creationId xmlns:a16="http://schemas.microsoft.com/office/drawing/2014/main" id="{95957FEA-A64A-44A4-A203-47BEF5B399B7}"/>
                  </a:ext>
                </a:extLst>
              </p14:cNvPr>
              <p14:cNvContentPartPr/>
              <p14:nvPr userDrawn="1"/>
            </p14:nvContentPartPr>
            <p14:xfrm>
              <a:off x="7626121" y="6598535"/>
              <a:ext cx="6720" cy="1440"/>
            </p14:xfrm>
          </p:contentPart>
        </mc:Choice>
        <mc:Fallback xmlns="">
          <p:pic>
            <p:nvPicPr>
              <p:cNvPr id="35" name="Ink 1">
                <a:extLst>
                  <a:ext uri="{FF2B5EF4-FFF2-40B4-BE49-F238E27FC236}">
                    <a16:creationId xmlns:a16="http://schemas.microsoft.com/office/drawing/2014/main" id="{95957FEA-A64A-44A4-A203-47BEF5B399B7}"/>
                  </a:ext>
                </a:extLst>
              </p:cNvPr>
              <p:cNvPicPr/>
              <p:nvPr/>
            </p:nvPicPr>
            <p:blipFill>
              <a:blip r:embed="rId4"/>
              <a:stretch>
                <a:fillRect/>
              </a:stretch>
            </p:blipFill>
            <p:spPr>
              <a:xfrm>
                <a:off x="7617721" y="6580535"/>
                <a:ext cx="23184" cy="36720"/>
              </a:xfrm>
              <a:prstGeom prst="rect">
                <a:avLst/>
              </a:prstGeom>
            </p:spPr>
          </p:pic>
        </mc:Fallback>
      </mc:AlternateContent>
      <p:sp>
        <p:nvSpPr>
          <p:cNvPr id="7" name="Pladsholder til dato 6">
            <a:extLst>
              <a:ext uri="{FF2B5EF4-FFF2-40B4-BE49-F238E27FC236}">
                <a16:creationId xmlns:a16="http://schemas.microsoft.com/office/drawing/2014/main" id="{3BA50A52-C39A-4058-9FF5-70B903030CD6}"/>
              </a:ext>
            </a:extLst>
          </p:cNvPr>
          <p:cNvSpPr>
            <a:spLocks noGrp="1"/>
          </p:cNvSpPr>
          <p:nvPr>
            <p:ph type="dt" sz="half" idx="16"/>
          </p:nvPr>
        </p:nvSpPr>
        <p:spPr/>
        <p:txBody>
          <a:bodyPr/>
          <a:lstStyle/>
          <a:p>
            <a:pPr algn="r"/>
            <a:r>
              <a:rPr lang="da-DK"/>
              <a:t>&lt;DD Month YYYY&gt;</a:t>
            </a:r>
            <a:endParaRPr lang="en-US"/>
          </a:p>
        </p:txBody>
      </p:sp>
      <p:sp>
        <p:nvSpPr>
          <p:cNvPr id="8" name="Pladsholder til sidefod 7">
            <a:extLst>
              <a:ext uri="{FF2B5EF4-FFF2-40B4-BE49-F238E27FC236}">
                <a16:creationId xmlns:a16="http://schemas.microsoft.com/office/drawing/2014/main" id="{C153C941-91AA-48A8-B7C0-11CCE63E4F79}"/>
              </a:ext>
            </a:extLst>
          </p:cNvPr>
          <p:cNvSpPr>
            <a:spLocks noGrp="1"/>
          </p:cNvSpPr>
          <p:nvPr>
            <p:ph type="ftr" sz="quarter" idx="17"/>
          </p:nvPr>
        </p:nvSpPr>
        <p:spPr/>
        <p:txBody>
          <a:bodyPr/>
          <a:lstStyle/>
          <a:p>
            <a:r>
              <a:rPr lang="en-US"/>
              <a:t>&lt;Footer&gt;</a:t>
            </a:r>
            <a:endParaRPr lang="en-GB"/>
          </a:p>
        </p:txBody>
      </p:sp>
      <p:sp>
        <p:nvSpPr>
          <p:cNvPr id="10" name="Pladsholder til slidenummer 9">
            <a:extLst>
              <a:ext uri="{FF2B5EF4-FFF2-40B4-BE49-F238E27FC236}">
                <a16:creationId xmlns:a16="http://schemas.microsoft.com/office/drawing/2014/main" id="{86579194-201F-4DA4-BEF9-93E100FC1BCB}"/>
              </a:ext>
            </a:extLst>
          </p:cNvPr>
          <p:cNvSpPr>
            <a:spLocks noGrp="1"/>
          </p:cNvSpPr>
          <p:nvPr>
            <p:ph type="sldNum" sz="quarter" idx="18"/>
          </p:nvPr>
        </p:nvSpPr>
        <p:spPr/>
        <p:txBody>
          <a:bodyPr/>
          <a:lstStyle/>
          <a:p>
            <a:fld id="{8EFF3B3A-7EEA-5E44-8ED8-372942253657}" type="slidenum">
              <a:rPr lang="en-US" smtClean="0"/>
              <a:pPr/>
              <a:t>‹#›</a:t>
            </a:fld>
            <a:endParaRPr lang="en-US"/>
          </a:p>
        </p:txBody>
      </p:sp>
      <p:sp>
        <p:nvSpPr>
          <p:cNvPr id="14" name="Pladsholder til billede 2">
            <a:extLst>
              <a:ext uri="{FF2B5EF4-FFF2-40B4-BE49-F238E27FC236}">
                <a16:creationId xmlns:a16="http://schemas.microsoft.com/office/drawing/2014/main" id="{8640134D-B55E-4FA3-A6F2-DFFE60EA6288}"/>
              </a:ext>
            </a:extLst>
          </p:cNvPr>
          <p:cNvSpPr>
            <a:spLocks noGrp="1"/>
          </p:cNvSpPr>
          <p:nvPr>
            <p:ph type="pic" sz="quarter" idx="13" hasCustomPrompt="1"/>
          </p:nvPr>
        </p:nvSpPr>
        <p:spPr>
          <a:xfrm>
            <a:off x="7866963" y="4853510"/>
            <a:ext cx="1240520" cy="1265644"/>
          </a:xfrm>
          <a:solidFill>
            <a:srgbClr val="A6A6A6"/>
          </a:solidFill>
        </p:spPr>
        <p:txBody>
          <a:bodyPr/>
          <a:lstStyle>
            <a:lvl1pPr>
              <a:defRPr b="0" i="1">
                <a:solidFill>
                  <a:schemeClr val="bg1"/>
                </a:solidFill>
              </a:defRPr>
            </a:lvl1pPr>
          </a:lstStyle>
          <a:p>
            <a:r>
              <a:rPr lang="da-DK"/>
              <a:t>Logo</a:t>
            </a:r>
          </a:p>
        </p:txBody>
      </p:sp>
      <p:sp>
        <p:nvSpPr>
          <p:cNvPr id="44" name="Pladsholder til billede 4">
            <a:extLst>
              <a:ext uri="{FF2B5EF4-FFF2-40B4-BE49-F238E27FC236}">
                <a16:creationId xmlns:a16="http://schemas.microsoft.com/office/drawing/2014/main" id="{A2CAF643-154C-481F-BA9B-E988156BF031}"/>
              </a:ext>
            </a:extLst>
          </p:cNvPr>
          <p:cNvSpPr>
            <a:spLocks noGrp="1"/>
          </p:cNvSpPr>
          <p:nvPr>
            <p:ph type="pic" sz="quarter" idx="25" hasCustomPrompt="1"/>
          </p:nvPr>
        </p:nvSpPr>
        <p:spPr>
          <a:xfrm>
            <a:off x="10272347" y="372681"/>
            <a:ext cx="1584000" cy="364800"/>
          </a:xfrm>
          <a:blipFill>
            <a:blip r:embed="rId5" cstate="screen">
              <a:extLst>
                <a:ext uri="{28A0092B-C50C-407E-A947-70E740481C1C}">
                  <a14:useLocalDpi xmlns:a14="http://schemas.microsoft.com/office/drawing/2010/main"/>
                </a:ext>
              </a:extLst>
            </a:blip>
            <a:stretch>
              <a:fillRect/>
            </a:stretch>
          </a:blipFill>
        </p:spPr>
        <p:txBody>
          <a:bodyPr/>
          <a:lstStyle>
            <a:lvl1pPr>
              <a:defRPr/>
            </a:lvl1pPr>
          </a:lstStyle>
          <a:p>
            <a:r>
              <a:rPr lang="da-DK"/>
              <a:t> </a:t>
            </a:r>
          </a:p>
        </p:txBody>
      </p:sp>
    </p:spTree>
    <p:extLst>
      <p:ext uri="{BB962C8B-B14F-4D97-AF65-F5344CB8AC3E}">
        <p14:creationId xmlns:p14="http://schemas.microsoft.com/office/powerpoint/2010/main" val="40712304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2 x text and image over under">
    <p:spTree>
      <p:nvGrpSpPr>
        <p:cNvPr id="1" name=""/>
        <p:cNvGrpSpPr/>
        <p:nvPr/>
      </p:nvGrpSpPr>
      <p:grpSpPr>
        <a:xfrm>
          <a:off x="0" y="0"/>
          <a:ext cx="0" cy="0"/>
          <a:chOff x="0" y="0"/>
          <a:chExt cx="0" cy="0"/>
        </a:xfrm>
      </p:grpSpPr>
      <p:sp>
        <p:nvSpPr>
          <p:cNvPr id="22" name="Pladsholder til billede 2">
            <a:extLst>
              <a:ext uri="{FF2B5EF4-FFF2-40B4-BE49-F238E27FC236}">
                <a16:creationId xmlns:a16="http://schemas.microsoft.com/office/drawing/2014/main" id="{A4520766-1A0F-4DD5-9F7C-65B6C30C4267}"/>
              </a:ext>
            </a:extLst>
          </p:cNvPr>
          <p:cNvSpPr>
            <a:spLocks noGrp="1"/>
          </p:cNvSpPr>
          <p:nvPr>
            <p:ph type="pic" sz="quarter" idx="20" hasCustomPrompt="1"/>
          </p:nvPr>
        </p:nvSpPr>
        <p:spPr>
          <a:xfrm>
            <a:off x="6463146" y="1117529"/>
            <a:ext cx="5410308" cy="3773967"/>
          </a:xfrm>
          <a:solidFill>
            <a:srgbClr val="A6A6A6"/>
          </a:solidFill>
        </p:spPr>
        <p:txBody>
          <a:bodyPr/>
          <a:lstStyle>
            <a:lvl1pPr rtl="0">
              <a:defRPr b="0" i="1">
                <a:solidFill>
                  <a:schemeClr val="bg1"/>
                </a:solidFill>
              </a:defRPr>
            </a:lvl1pPr>
          </a:lstStyle>
          <a:p>
            <a:r>
              <a:rPr lang="da-DK"/>
              <a:t>Image</a:t>
            </a:r>
          </a:p>
        </p:txBody>
      </p:sp>
      <p:sp>
        <p:nvSpPr>
          <p:cNvPr id="18" name="Pladsholder til tekst 16">
            <a:extLst>
              <a:ext uri="{FF2B5EF4-FFF2-40B4-BE49-F238E27FC236}">
                <a16:creationId xmlns:a16="http://schemas.microsoft.com/office/drawing/2014/main" id="{D0A9AB39-B40A-4F3E-ADA9-6E1B49FA8B4B}"/>
              </a:ext>
            </a:extLst>
          </p:cNvPr>
          <p:cNvSpPr>
            <a:spLocks noGrp="1"/>
          </p:cNvSpPr>
          <p:nvPr>
            <p:ph type="body" sz="quarter" idx="15" hasCustomPrompt="1"/>
          </p:nvPr>
        </p:nvSpPr>
        <p:spPr>
          <a:xfrm>
            <a:off x="6327664" y="5718284"/>
            <a:ext cx="5529901" cy="486177"/>
          </a:xfrm>
        </p:spPr>
        <p:txBody>
          <a:bodyPr>
            <a:noAutofit/>
          </a:bodyPr>
          <a:lstStyle>
            <a:lvl1pPr marL="0" algn="l" defTabSz="609585" rtl="0" eaLnBrk="1" latinLnBrk="0" hangingPunct="1">
              <a:defRPr lang="da-DK" sz="1733" b="0" kern="1200" dirty="0" smtClean="0">
                <a:solidFill>
                  <a:schemeClr val="tx1"/>
                </a:solidFill>
                <a:latin typeface="+mj-lt"/>
                <a:ea typeface="+mn-ea"/>
                <a:cs typeface="+mn-cs"/>
              </a:defRPr>
            </a:lvl1pPr>
          </a:lstStyle>
          <a:p>
            <a:pPr lvl="0"/>
            <a:r>
              <a:rPr lang="en-US"/>
              <a:t>Text can be added here</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16">
            <a:extLst>
              <a:ext uri="{FF2B5EF4-FFF2-40B4-BE49-F238E27FC236}">
                <a16:creationId xmlns:a16="http://schemas.microsoft.com/office/drawing/2014/main" id="{FE5D910B-E023-4441-9C8A-35373F251F1A}"/>
              </a:ext>
            </a:extLst>
          </p:cNvPr>
          <p:cNvSpPr>
            <a:spLocks noGrp="1"/>
          </p:cNvSpPr>
          <p:nvPr>
            <p:ph type="body" sz="quarter" idx="14" hasCustomPrompt="1"/>
          </p:nvPr>
        </p:nvSpPr>
        <p:spPr>
          <a:xfrm>
            <a:off x="318545" y="1552684"/>
            <a:ext cx="5562712" cy="486177"/>
          </a:xfrm>
        </p:spPr>
        <p:txBody>
          <a:bodyPr>
            <a:noAutofit/>
          </a:bodyPr>
          <a:lstStyle>
            <a:lvl1pPr marL="0" algn="l" defTabSz="609585" rtl="0" eaLnBrk="1" latinLnBrk="0" hangingPunct="1">
              <a:defRPr lang="da-DK" sz="1733" b="0" kern="1200" dirty="0" smtClean="0">
                <a:solidFill>
                  <a:schemeClr val="tx1"/>
                </a:solidFill>
                <a:latin typeface="+mj-lt"/>
                <a:ea typeface="+mn-ea"/>
                <a:cs typeface="+mn-cs"/>
              </a:defRPr>
            </a:lvl1pPr>
          </a:lstStyle>
          <a:p>
            <a:pPr lvl="0"/>
            <a:r>
              <a:rPr lang="en-US"/>
              <a:t>Text can be added here</a:t>
            </a:r>
          </a:p>
          <a:p>
            <a:pPr lvl="1"/>
            <a:r>
              <a:rPr lang="da-DK"/>
              <a:t>Andet niveau</a:t>
            </a:r>
          </a:p>
          <a:p>
            <a:pPr lvl="2"/>
            <a:r>
              <a:rPr lang="da-DK"/>
              <a:t>Tredje niveau</a:t>
            </a:r>
          </a:p>
          <a:p>
            <a:pPr lvl="3"/>
            <a:r>
              <a:rPr lang="da-DK"/>
              <a:t>Fjerde niveau</a:t>
            </a:r>
          </a:p>
          <a:p>
            <a:pPr lvl="4"/>
            <a:r>
              <a:rPr lang="da-DK"/>
              <a:t>Femte niveau</a:t>
            </a:r>
          </a:p>
        </p:txBody>
      </p:sp>
      <p:sp>
        <p:nvSpPr>
          <p:cNvPr id="17" name="Titel 13">
            <a:extLst>
              <a:ext uri="{FF2B5EF4-FFF2-40B4-BE49-F238E27FC236}">
                <a16:creationId xmlns:a16="http://schemas.microsoft.com/office/drawing/2014/main" id="{0977448C-4C32-4839-943B-D5CD0E59BE31}"/>
              </a:ext>
            </a:extLst>
          </p:cNvPr>
          <p:cNvSpPr>
            <a:spLocks noGrp="1"/>
          </p:cNvSpPr>
          <p:nvPr>
            <p:ph type="title" hasCustomPrompt="1"/>
          </p:nvPr>
        </p:nvSpPr>
        <p:spPr>
          <a:xfrm>
            <a:off x="318546" y="1056265"/>
            <a:ext cx="5562711" cy="496419"/>
          </a:xfrm>
          <a:noFill/>
        </p:spPr>
        <p:txBody>
          <a:bodyPr wrap="square" rtlCol="0" anchor="t">
            <a:noAutofit/>
          </a:bodyPr>
          <a:lstStyle>
            <a:lvl1pPr>
              <a:defRPr lang="da-DK" sz="3333">
                <a:solidFill>
                  <a:srgbClr val="009CA6"/>
                </a:solidFill>
                <a:latin typeface="+mj-lt"/>
                <a:ea typeface="+mn-ea"/>
                <a:cs typeface="+mn-cs"/>
              </a:defRPr>
            </a:lvl1pPr>
          </a:lstStyle>
          <a:p>
            <a:pPr marL="0" lvl="0" defTabSz="609585"/>
            <a:r>
              <a:rPr lang="da-DK" err="1"/>
              <a:t>Headline</a:t>
            </a:r>
            <a:endParaRPr lang="da-DK"/>
          </a:p>
        </p:txBody>
      </p:sp>
      <p:sp>
        <p:nvSpPr>
          <p:cNvPr id="7" name="Pladsholder til dato 6">
            <a:extLst>
              <a:ext uri="{FF2B5EF4-FFF2-40B4-BE49-F238E27FC236}">
                <a16:creationId xmlns:a16="http://schemas.microsoft.com/office/drawing/2014/main" id="{3BA50A52-C39A-4058-9FF5-70B903030CD6}"/>
              </a:ext>
            </a:extLst>
          </p:cNvPr>
          <p:cNvSpPr>
            <a:spLocks noGrp="1"/>
          </p:cNvSpPr>
          <p:nvPr>
            <p:ph type="dt" sz="half" idx="16"/>
          </p:nvPr>
        </p:nvSpPr>
        <p:spPr/>
        <p:txBody>
          <a:bodyPr/>
          <a:lstStyle/>
          <a:p>
            <a:pPr algn="r"/>
            <a:r>
              <a:rPr lang="da-DK"/>
              <a:t>&lt;DD Month YYYY&gt;</a:t>
            </a:r>
            <a:endParaRPr lang="en-US"/>
          </a:p>
        </p:txBody>
      </p:sp>
      <p:sp>
        <p:nvSpPr>
          <p:cNvPr id="8" name="Pladsholder til sidefod 7">
            <a:extLst>
              <a:ext uri="{FF2B5EF4-FFF2-40B4-BE49-F238E27FC236}">
                <a16:creationId xmlns:a16="http://schemas.microsoft.com/office/drawing/2014/main" id="{C153C941-91AA-48A8-B7C0-11CCE63E4F79}"/>
              </a:ext>
            </a:extLst>
          </p:cNvPr>
          <p:cNvSpPr>
            <a:spLocks noGrp="1"/>
          </p:cNvSpPr>
          <p:nvPr>
            <p:ph type="ftr" sz="quarter" idx="17"/>
          </p:nvPr>
        </p:nvSpPr>
        <p:spPr/>
        <p:txBody>
          <a:bodyPr/>
          <a:lstStyle/>
          <a:p>
            <a:r>
              <a:rPr lang="en-US"/>
              <a:t>&lt;Footer&gt;</a:t>
            </a:r>
            <a:endParaRPr lang="en-GB"/>
          </a:p>
        </p:txBody>
      </p:sp>
      <p:sp>
        <p:nvSpPr>
          <p:cNvPr id="10" name="Pladsholder til slidenummer 9">
            <a:extLst>
              <a:ext uri="{FF2B5EF4-FFF2-40B4-BE49-F238E27FC236}">
                <a16:creationId xmlns:a16="http://schemas.microsoft.com/office/drawing/2014/main" id="{86579194-201F-4DA4-BEF9-93E100FC1BCB}"/>
              </a:ext>
            </a:extLst>
          </p:cNvPr>
          <p:cNvSpPr>
            <a:spLocks noGrp="1"/>
          </p:cNvSpPr>
          <p:nvPr>
            <p:ph type="sldNum" sz="quarter" idx="18"/>
          </p:nvPr>
        </p:nvSpPr>
        <p:spPr/>
        <p:txBody>
          <a:bodyPr/>
          <a:lstStyle/>
          <a:p>
            <a:fld id="{8EFF3B3A-7EEA-5E44-8ED8-372942253657}" type="slidenum">
              <a:rPr lang="en-US" smtClean="0"/>
              <a:pPr/>
              <a:t>‹#›</a:t>
            </a:fld>
            <a:endParaRPr lang="en-US"/>
          </a:p>
        </p:txBody>
      </p:sp>
      <p:sp>
        <p:nvSpPr>
          <p:cNvPr id="21" name="Pladsholder til tekst 20">
            <a:extLst>
              <a:ext uri="{FF2B5EF4-FFF2-40B4-BE49-F238E27FC236}">
                <a16:creationId xmlns:a16="http://schemas.microsoft.com/office/drawing/2014/main" id="{00F85236-2A2C-42CC-90A8-81CFD73E72DF}"/>
              </a:ext>
            </a:extLst>
          </p:cNvPr>
          <p:cNvSpPr>
            <a:spLocks noGrp="1"/>
          </p:cNvSpPr>
          <p:nvPr>
            <p:ph type="body" sz="quarter" idx="19" hasCustomPrompt="1"/>
          </p:nvPr>
        </p:nvSpPr>
        <p:spPr>
          <a:xfrm>
            <a:off x="6327665" y="5221865"/>
            <a:ext cx="5529903" cy="496419"/>
          </a:xfrm>
        </p:spPr>
        <p:txBody>
          <a:bodyPr>
            <a:noAutofit/>
          </a:bodyPr>
          <a:lstStyle>
            <a:lvl1pPr>
              <a:defRPr lang="da-DK" sz="3333" b="0" i="0" kern="1200" dirty="0" smtClean="0">
                <a:solidFill>
                  <a:srgbClr val="009CA6"/>
                </a:solidFill>
                <a:latin typeface="+mj-lt"/>
                <a:ea typeface="+mn-ea"/>
                <a:cs typeface="+mn-cs"/>
              </a:defRPr>
            </a:lvl1pPr>
          </a:lstStyle>
          <a:p>
            <a:pPr lvl="0"/>
            <a:r>
              <a:rPr lang="da-DK" err="1"/>
              <a:t>Headline</a:t>
            </a:r>
            <a:endParaRPr lang="da-DK"/>
          </a:p>
        </p:txBody>
      </p:sp>
      <p:sp>
        <p:nvSpPr>
          <p:cNvPr id="14" name="Pladsholder til billede 2">
            <a:extLst>
              <a:ext uri="{FF2B5EF4-FFF2-40B4-BE49-F238E27FC236}">
                <a16:creationId xmlns:a16="http://schemas.microsoft.com/office/drawing/2014/main" id="{8640134D-B55E-4FA3-A6F2-DFFE60EA6288}"/>
              </a:ext>
            </a:extLst>
          </p:cNvPr>
          <p:cNvSpPr>
            <a:spLocks noGrp="1"/>
          </p:cNvSpPr>
          <p:nvPr>
            <p:ph type="pic" sz="quarter" idx="13" hasCustomPrompt="1"/>
          </p:nvPr>
        </p:nvSpPr>
        <p:spPr>
          <a:xfrm>
            <a:off x="432956" y="2212202"/>
            <a:ext cx="5448301" cy="3773967"/>
          </a:xfrm>
          <a:solidFill>
            <a:srgbClr val="A6A6A6"/>
          </a:solidFill>
        </p:spPr>
        <p:txBody>
          <a:bodyPr/>
          <a:lstStyle>
            <a:lvl1pPr>
              <a:defRPr b="0" i="1">
                <a:solidFill>
                  <a:schemeClr val="bg1"/>
                </a:solidFill>
              </a:defRPr>
            </a:lvl1pPr>
          </a:lstStyle>
          <a:p>
            <a:r>
              <a:rPr lang="da-DK"/>
              <a:t>Image</a:t>
            </a:r>
          </a:p>
        </p:txBody>
      </p:sp>
    </p:spTree>
    <p:extLst>
      <p:ext uri="{BB962C8B-B14F-4D97-AF65-F5344CB8AC3E}">
        <p14:creationId xmlns:p14="http://schemas.microsoft.com/office/powerpoint/2010/main" val="6877023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a:t>Click to edit Master title style</a:t>
            </a:r>
            <a:endParaRPr lang="da-DK" dirty="0"/>
          </a:p>
        </p:txBody>
      </p:sp>
      <p:sp>
        <p:nvSpPr>
          <p:cNvPr id="3" name="Date Placeholder 3">
            <a:extLst>
              <a:ext uri="{FF2B5EF4-FFF2-40B4-BE49-F238E27FC236}">
                <a16:creationId xmlns:a16="http://schemas.microsoft.com/office/drawing/2014/main" id="{0282ECBA-0FE9-4BBF-A4CB-C6DB78B1EB49}"/>
              </a:ext>
            </a:extLst>
          </p:cNvPr>
          <p:cNvSpPr>
            <a:spLocks noGrp="1"/>
          </p:cNvSpPr>
          <p:nvPr>
            <p:ph type="dt" sz="half" idx="10"/>
          </p:nvPr>
        </p:nvSpPr>
        <p:spPr/>
        <p:txBody>
          <a:bodyPr/>
          <a:lstStyle>
            <a:lvl1pPr>
              <a:defRPr/>
            </a:lvl1pPr>
          </a:lstStyle>
          <a:p>
            <a:pPr>
              <a:defRPr/>
            </a:pPr>
            <a:r>
              <a:rPr lang="da-DK"/>
              <a:t>&lt;DD Month YYYY&gt;</a:t>
            </a:r>
            <a:endParaRPr lang="en-US" dirty="0"/>
          </a:p>
        </p:txBody>
      </p:sp>
      <p:sp>
        <p:nvSpPr>
          <p:cNvPr id="4" name="Footer Placeholder 4">
            <a:extLst>
              <a:ext uri="{FF2B5EF4-FFF2-40B4-BE49-F238E27FC236}">
                <a16:creationId xmlns:a16="http://schemas.microsoft.com/office/drawing/2014/main" id="{D917FCC8-C119-402B-A143-E769F12C8C7A}"/>
              </a:ext>
            </a:extLst>
          </p:cNvPr>
          <p:cNvSpPr>
            <a:spLocks noGrp="1"/>
          </p:cNvSpPr>
          <p:nvPr>
            <p:ph type="ftr" sz="quarter" idx="11"/>
          </p:nvPr>
        </p:nvSpPr>
        <p:spPr/>
        <p:txBody>
          <a:bodyPr/>
          <a:lstStyle>
            <a:lvl1pPr>
              <a:defRPr/>
            </a:lvl1pPr>
          </a:lstStyle>
          <a:p>
            <a:pPr>
              <a:defRPr/>
            </a:pPr>
            <a:r>
              <a:rPr lang="en-US"/>
              <a:t>&lt;Footer&gt;</a:t>
            </a:r>
            <a:endParaRPr lang="en-GB"/>
          </a:p>
        </p:txBody>
      </p:sp>
      <p:sp>
        <p:nvSpPr>
          <p:cNvPr id="5" name="Slide Number Placeholder 5">
            <a:extLst>
              <a:ext uri="{FF2B5EF4-FFF2-40B4-BE49-F238E27FC236}">
                <a16:creationId xmlns:a16="http://schemas.microsoft.com/office/drawing/2014/main" id="{9FFFB21D-29FB-4EA3-B9BC-A512BDB5AEA3}"/>
              </a:ext>
            </a:extLst>
          </p:cNvPr>
          <p:cNvSpPr>
            <a:spLocks noGrp="1"/>
          </p:cNvSpPr>
          <p:nvPr>
            <p:ph type="sldNum" sz="quarter" idx="12"/>
          </p:nvPr>
        </p:nvSpPr>
        <p:spPr/>
        <p:txBody>
          <a:bodyPr/>
          <a:lstStyle>
            <a:lvl1pPr>
              <a:defRPr/>
            </a:lvl1pPr>
          </a:lstStyle>
          <a:p>
            <a:pPr>
              <a:defRPr/>
            </a:pPr>
            <a:fld id="{5FEA3AAB-6252-48A4-932E-B621D34AC66B}" type="slidenum">
              <a:rPr lang="en-US"/>
              <a:pPr>
                <a:defRPr/>
              </a:pPr>
              <a:t>‹#›</a:t>
            </a:fld>
            <a:endParaRPr lang="en-US" dirty="0"/>
          </a:p>
        </p:txBody>
      </p:sp>
    </p:spTree>
    <p:extLst>
      <p:ext uri="{BB962C8B-B14F-4D97-AF65-F5344CB8AC3E}">
        <p14:creationId xmlns:p14="http://schemas.microsoft.com/office/powerpoint/2010/main" val="15795413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D5F2A-70FC-CDB7-F882-BC41CD3E07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7872CC-7CD0-A068-7744-F23B56F4C15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3EC56AF-9B5F-365C-F8E4-664D4F8B48A3}"/>
              </a:ext>
            </a:extLst>
          </p:cNvPr>
          <p:cNvSpPr>
            <a:spLocks noGrp="1"/>
          </p:cNvSpPr>
          <p:nvPr>
            <p:ph type="dt" sz="half" idx="10"/>
          </p:nvPr>
        </p:nvSpPr>
        <p:spPr/>
        <p:txBody>
          <a:bodyPr/>
          <a:lstStyle/>
          <a:p>
            <a:fld id="{B065D7FB-33B6-43C6-A2EB-D78994A4BB0E}" type="datetimeFigureOut">
              <a:rPr lang="en-US" smtClean="0"/>
              <a:t>4/18/2024</a:t>
            </a:fld>
            <a:endParaRPr lang="en-US"/>
          </a:p>
        </p:txBody>
      </p:sp>
      <p:sp>
        <p:nvSpPr>
          <p:cNvPr id="5" name="Footer Placeholder 4">
            <a:extLst>
              <a:ext uri="{FF2B5EF4-FFF2-40B4-BE49-F238E27FC236}">
                <a16:creationId xmlns:a16="http://schemas.microsoft.com/office/drawing/2014/main" id="{2472A0D2-B3D2-FE76-3CA6-8A32C7A5F3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51D21E-5960-DA78-C543-8C235164E15D}"/>
              </a:ext>
            </a:extLst>
          </p:cNvPr>
          <p:cNvSpPr>
            <a:spLocks noGrp="1"/>
          </p:cNvSpPr>
          <p:nvPr>
            <p:ph type="sldNum" sz="quarter" idx="12"/>
          </p:nvPr>
        </p:nvSpPr>
        <p:spPr/>
        <p:txBody>
          <a:bodyPr/>
          <a:lstStyle/>
          <a:p>
            <a:fld id="{8B19788E-5B75-4F25-AF68-9121B11AFFD8}" type="slidenum">
              <a:rPr lang="en-US" smtClean="0"/>
              <a:t>‹#›</a:t>
            </a:fld>
            <a:endParaRPr lang="en-US"/>
          </a:p>
        </p:txBody>
      </p:sp>
    </p:spTree>
    <p:extLst>
      <p:ext uri="{BB962C8B-B14F-4D97-AF65-F5344CB8AC3E}">
        <p14:creationId xmlns:p14="http://schemas.microsoft.com/office/powerpoint/2010/main" val="4122201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1_ only Text">
    <p:spTree>
      <p:nvGrpSpPr>
        <p:cNvPr id="1" name=""/>
        <p:cNvGrpSpPr/>
        <p:nvPr/>
      </p:nvGrpSpPr>
      <p:grpSpPr>
        <a:xfrm>
          <a:off x="0" y="0"/>
          <a:ext cx="0" cy="0"/>
          <a:chOff x="0" y="0"/>
          <a:chExt cx="0" cy="0"/>
        </a:xfrm>
      </p:grpSpPr>
      <p:sp>
        <p:nvSpPr>
          <p:cNvPr id="3" name="Text Placeholder 2"/>
          <p:cNvSpPr>
            <a:spLocks noGrp="1"/>
          </p:cNvSpPr>
          <p:nvPr>
            <p:ph type="body" sz="quarter" idx="11" hasCustomPrompt="1"/>
          </p:nvPr>
        </p:nvSpPr>
        <p:spPr>
          <a:xfrm>
            <a:off x="1371600" y="1219200"/>
            <a:ext cx="9791700" cy="4838700"/>
          </a:xfrm>
          <a:prstGeom prst="rect">
            <a:avLst/>
          </a:prstGeom>
        </p:spPr>
        <p:txBody>
          <a:bodyPr tIns="0" bIns="0"/>
          <a:lstStyle>
            <a:lvl1pPr marL="0" indent="0">
              <a:lnSpc>
                <a:spcPct val="150000"/>
              </a:lnSpc>
              <a:spcBef>
                <a:spcPts val="0"/>
              </a:spcBef>
              <a:buNone/>
              <a:defRPr sz="24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p:txBody>
      </p:sp>
      <p:sp>
        <p:nvSpPr>
          <p:cNvPr id="5" name="Text Placeholder 10">
            <a:extLst>
              <a:ext uri="{FF2B5EF4-FFF2-40B4-BE49-F238E27FC236}">
                <a16:creationId xmlns:a16="http://schemas.microsoft.com/office/drawing/2014/main" id="{1FEEDBD1-D8B4-4F07-AEFA-3740F5131BA3}"/>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2325128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_with Highligh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1375717" y="2537254"/>
            <a:ext cx="9787583" cy="3520646"/>
          </a:xfrm>
          <a:prstGeom prst="rect">
            <a:avLst/>
          </a:prstGeom>
        </p:spPr>
        <p:txBody>
          <a:bodyPr tIns="0" bIns="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3" name="Content Placeholder 12"/>
          <p:cNvSpPr>
            <a:spLocks noGrp="1"/>
          </p:cNvSpPr>
          <p:nvPr>
            <p:ph sz="quarter" idx="11" hasCustomPrompt="1"/>
          </p:nvPr>
        </p:nvSpPr>
        <p:spPr>
          <a:xfrm>
            <a:off x="1376459" y="1219199"/>
            <a:ext cx="9820275" cy="1145059"/>
          </a:xfrm>
          <a:prstGeom prst="roundRect">
            <a:avLst/>
          </a:prstGeom>
          <a:solidFill>
            <a:schemeClr val="bg2"/>
          </a:solidFill>
        </p:spPr>
        <p:style>
          <a:lnRef idx="0">
            <a:schemeClr val="dk1"/>
          </a:lnRef>
          <a:fillRef idx="3">
            <a:schemeClr val="dk1"/>
          </a:fillRef>
          <a:effectRef idx="3">
            <a:schemeClr val="dk1"/>
          </a:effectRef>
          <a:fontRef idx="none"/>
        </p:style>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pPr lvl="0"/>
            <a:r>
              <a:rPr lang="en-US" dirty="0"/>
              <a:t>Edit Master text styles</a:t>
            </a:r>
          </a:p>
        </p:txBody>
      </p:sp>
      <p:sp>
        <p:nvSpPr>
          <p:cNvPr id="10" name="Text Placeholder 10">
            <a:extLst>
              <a:ext uri="{FF2B5EF4-FFF2-40B4-BE49-F238E27FC236}">
                <a16:creationId xmlns:a16="http://schemas.microsoft.com/office/drawing/2014/main" id="{38C14A53-38E0-482C-B09F-5EED04F927A4}"/>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819929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1_only image">
    <p:spTree>
      <p:nvGrpSpPr>
        <p:cNvPr id="1" name=""/>
        <p:cNvGrpSpPr/>
        <p:nvPr/>
      </p:nvGrpSpPr>
      <p:grpSpPr>
        <a:xfrm>
          <a:off x="0" y="0"/>
          <a:ext cx="0" cy="0"/>
          <a:chOff x="0" y="0"/>
          <a:chExt cx="0" cy="0"/>
        </a:xfrm>
      </p:grpSpPr>
      <p:sp>
        <p:nvSpPr>
          <p:cNvPr id="7" name="Picture Placeholder 13"/>
          <p:cNvSpPr>
            <a:spLocks noGrp="1"/>
          </p:cNvSpPr>
          <p:nvPr>
            <p:ph type="pic" sz="quarter" idx="11"/>
          </p:nvPr>
        </p:nvSpPr>
        <p:spPr>
          <a:xfrm>
            <a:off x="1375719" y="1219200"/>
            <a:ext cx="9787582" cy="4838699"/>
          </a:xfrm>
          <a:prstGeom prst="rect">
            <a:avLst/>
          </a:prstGeom>
        </p:spPr>
        <p:txBody>
          <a:bodyPr tIns="0" bIns="0"/>
          <a:lstStyle>
            <a:lvl1pPr marL="0" indent="0">
              <a:lnSpc>
                <a:spcPct val="150000"/>
              </a:lnSpc>
              <a:spcBef>
                <a:spcPts val="0"/>
              </a:spcBef>
              <a:buNone/>
              <a:defRPr sz="2400">
                <a:latin typeface="Arial" panose="020B0604020202020204" pitchFamily="34" charset="0"/>
                <a:cs typeface="Arial" panose="020B0604020202020204" pitchFamily="34" charset="0"/>
              </a:defRPr>
            </a:lvl1pPr>
          </a:lstStyle>
          <a:p>
            <a:endParaRPr lang="en-US" dirty="0"/>
          </a:p>
        </p:txBody>
      </p:sp>
      <p:sp>
        <p:nvSpPr>
          <p:cNvPr id="9" name="Text Placeholder 10">
            <a:extLst>
              <a:ext uri="{FF2B5EF4-FFF2-40B4-BE49-F238E27FC236}">
                <a16:creationId xmlns:a16="http://schemas.microsoft.com/office/drawing/2014/main" id="{3B520F50-4BBA-4A02-8B72-A3DF926AE020}"/>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2473254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Content_Q&amp;A">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1877626" y="1993558"/>
            <a:ext cx="3929449" cy="3921210"/>
          </a:xfrm>
          <a:prstGeom prst="rect">
            <a:avLst/>
          </a:prstGeom>
          <a:solidFill>
            <a:schemeClr val="bg2">
              <a:lumMod val="40000"/>
              <a:lumOff val="60000"/>
            </a:schemeClr>
          </a:solidFill>
        </p:spPr>
        <p:txBody>
          <a:bodyPr tIns="0" bIns="0" anchor="ctr" anchorCtr="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1" name="Content Placeholder 2"/>
          <p:cNvSpPr>
            <a:spLocks noGrp="1"/>
          </p:cNvSpPr>
          <p:nvPr>
            <p:ph idx="13" hasCustomPrompt="1"/>
          </p:nvPr>
        </p:nvSpPr>
        <p:spPr>
          <a:xfrm>
            <a:off x="6256638" y="1993557"/>
            <a:ext cx="3929449" cy="3921211"/>
          </a:xfrm>
          <a:prstGeom prst="rect">
            <a:avLst/>
          </a:prstGeom>
          <a:solidFill>
            <a:schemeClr val="bg2">
              <a:lumMod val="40000"/>
              <a:lumOff val="60000"/>
            </a:schemeClr>
          </a:solidFill>
        </p:spPr>
        <p:txBody>
          <a:bodyPr tIns="0" bIns="0" anchor="ctr" anchorCtr="0"/>
          <a:lstStyle>
            <a:lvl1pPr marL="0" indent="0">
              <a:lnSpc>
                <a:spcPct val="150000"/>
              </a:lnSpc>
              <a:spcBef>
                <a:spcPts val="0"/>
              </a:spcBef>
              <a:buNone/>
              <a:defRPr sz="2400">
                <a:solidFill>
                  <a:schemeClr val="accent1"/>
                </a:solidFill>
                <a:latin typeface="Arial" panose="020B0604020202020204" pitchFamily="34" charset="0"/>
                <a:cs typeface="Arial" panose="020B0604020202020204" pitchFamily="34" charset="0"/>
              </a:defRPr>
            </a:lvl1pPr>
            <a:lvl2pPr>
              <a:lnSpc>
                <a:spcPct val="100000"/>
              </a:lnSpc>
              <a:spcBef>
                <a:spcPts val="1200"/>
              </a:spcBef>
              <a:defRPr sz="2200">
                <a:solidFill>
                  <a:schemeClr val="accent1"/>
                </a:solidFill>
                <a:latin typeface="Arial" panose="020B0604020202020204" pitchFamily="34" charset="0"/>
                <a:cs typeface="Arial" panose="020B0604020202020204" pitchFamily="34" charset="0"/>
              </a:defRPr>
            </a:lvl2pPr>
            <a:lvl3pPr>
              <a:lnSpc>
                <a:spcPct val="100000"/>
              </a:lnSpc>
              <a:spcBef>
                <a:spcPts val="1200"/>
              </a:spcBef>
              <a:defRPr sz="2200">
                <a:solidFill>
                  <a:schemeClr val="accent1"/>
                </a:solidFill>
                <a:latin typeface="Arial" panose="020B0604020202020204" pitchFamily="34" charset="0"/>
                <a:cs typeface="Arial" panose="020B0604020202020204" pitchFamily="34" charset="0"/>
              </a:defRPr>
            </a:lvl3pPr>
            <a:lvl4pPr>
              <a:lnSpc>
                <a:spcPct val="100000"/>
              </a:lnSpc>
              <a:spcBef>
                <a:spcPts val="1200"/>
              </a:spcBef>
              <a:defRPr sz="2200">
                <a:solidFill>
                  <a:schemeClr val="accent1"/>
                </a:solidFill>
                <a:latin typeface="Arial" panose="020B0604020202020204" pitchFamily="34" charset="0"/>
                <a:cs typeface="Arial" panose="020B0604020202020204" pitchFamily="34" charset="0"/>
              </a:defRPr>
            </a:lvl4pPr>
          </a:lstStyle>
          <a:p>
            <a:pPr lvl="0"/>
            <a:r>
              <a:rPr lang="en-US" dirty="0"/>
              <a:t>Edit Master text styles</a:t>
            </a:r>
          </a:p>
        </p:txBody>
      </p:sp>
      <p:sp>
        <p:nvSpPr>
          <p:cNvPr id="19" name="Text Placeholder 18"/>
          <p:cNvSpPr>
            <a:spLocks noGrp="1"/>
          </p:cNvSpPr>
          <p:nvPr>
            <p:ph type="body" sz="quarter" idx="14" hasCustomPrompt="1"/>
          </p:nvPr>
        </p:nvSpPr>
        <p:spPr>
          <a:xfrm>
            <a:off x="1878013" y="1515761"/>
            <a:ext cx="3929062" cy="477796"/>
          </a:xfrm>
          <a:prstGeom prst="rect">
            <a:avLst/>
          </a:prstGeom>
          <a:solidFill>
            <a:schemeClr val="bg2"/>
          </a:solidFill>
        </p:spPr>
        <p:txBody>
          <a:bodyPr/>
          <a:lstStyle>
            <a:lvl1pPr marL="0" indent="0" algn="ctr">
              <a:lnSpc>
                <a:spcPct val="100000"/>
              </a:lnSpc>
              <a:spcBef>
                <a:spcPts val="0"/>
              </a:spcBef>
              <a:buNone/>
              <a:defRPr sz="2400" b="1">
                <a:latin typeface="Arial" panose="020B0604020202020204" pitchFamily="34" charset="0"/>
                <a:cs typeface="Arial" panose="020B0604020202020204" pitchFamily="34" charset="0"/>
              </a:defRPr>
            </a:lvl1pPr>
          </a:lstStyle>
          <a:p>
            <a:pPr lvl="0"/>
            <a:r>
              <a:rPr lang="en-US" dirty="0"/>
              <a:t>Q</a:t>
            </a:r>
          </a:p>
        </p:txBody>
      </p:sp>
      <p:sp>
        <p:nvSpPr>
          <p:cNvPr id="21" name="Text Placeholder 18"/>
          <p:cNvSpPr>
            <a:spLocks noGrp="1"/>
          </p:cNvSpPr>
          <p:nvPr>
            <p:ph type="body" sz="quarter" idx="15" hasCustomPrompt="1"/>
          </p:nvPr>
        </p:nvSpPr>
        <p:spPr>
          <a:xfrm>
            <a:off x="6256638" y="1515761"/>
            <a:ext cx="3929062" cy="477796"/>
          </a:xfrm>
          <a:prstGeom prst="rect">
            <a:avLst/>
          </a:prstGeom>
          <a:solidFill>
            <a:schemeClr val="bg2"/>
          </a:solidFill>
        </p:spPr>
        <p:txBody>
          <a:bodyPr/>
          <a:lstStyle>
            <a:lvl1pPr marL="0" indent="0" algn="ctr">
              <a:lnSpc>
                <a:spcPct val="100000"/>
              </a:lnSpc>
              <a:spcBef>
                <a:spcPts val="0"/>
              </a:spcBef>
              <a:buNone/>
              <a:defRPr sz="2400" b="1">
                <a:latin typeface="Arial" panose="020B0604020202020204" pitchFamily="34" charset="0"/>
                <a:cs typeface="Arial" panose="020B0604020202020204" pitchFamily="34" charset="0"/>
              </a:defRPr>
            </a:lvl1pPr>
          </a:lstStyle>
          <a:p>
            <a:pPr lvl="0"/>
            <a:r>
              <a:rPr lang="en-US" dirty="0"/>
              <a:t>A</a:t>
            </a:r>
          </a:p>
        </p:txBody>
      </p:sp>
      <p:sp>
        <p:nvSpPr>
          <p:cNvPr id="10" name="Text Placeholder 10">
            <a:extLst>
              <a:ext uri="{FF2B5EF4-FFF2-40B4-BE49-F238E27FC236}">
                <a16:creationId xmlns:a16="http://schemas.microsoft.com/office/drawing/2014/main" id="{BFBCE9A1-F806-459F-B6AD-BE8D47D58175}"/>
              </a:ext>
            </a:extLst>
          </p:cNvPr>
          <p:cNvSpPr>
            <a:spLocks noGrp="1"/>
          </p:cNvSpPr>
          <p:nvPr>
            <p:ph type="body" sz="quarter" idx="10" hasCustomPrompt="1"/>
          </p:nvPr>
        </p:nvSpPr>
        <p:spPr>
          <a:xfrm>
            <a:off x="1371600" y="238351"/>
            <a:ext cx="9791700" cy="593710"/>
          </a:xfrm>
          <a:prstGeom prst="rect">
            <a:avLst/>
          </a:prstGeom>
        </p:spPr>
        <p:txBody>
          <a:bodyPr tIns="0" bIns="0" anchor="ctr" anchorCtr="1"/>
          <a:lstStyle>
            <a:lvl1pPr marL="0" indent="0" algn="ctr">
              <a:buNone/>
              <a:defRPr sz="3600" b="1" baseline="0">
                <a:solidFill>
                  <a:schemeClr val="accent3"/>
                </a:solidFill>
                <a:latin typeface="Arial" panose="020B06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127094243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6.jp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png"/><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7.jp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8.jp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theme" Target="../theme/theme6.xml"/><Relationship Id="rId1" Type="http://schemas.openxmlformats.org/officeDocument/2006/relationships/slideLayout" Target="../slideLayouts/slideLayout15.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theme" Target="../theme/theme7.xml"/><Relationship Id="rId1" Type="http://schemas.openxmlformats.org/officeDocument/2006/relationships/slideLayout" Target="../slideLayouts/slideLayout16.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image" Target="../media/image11.jp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8.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image" Target="../media/image13.png"/><Relationship Id="rId21" Type="http://schemas.openxmlformats.org/officeDocument/2006/relationships/slideLayout" Target="../slideLayouts/slideLayout42.xml"/><Relationship Id="rId34" Type="http://schemas.openxmlformats.org/officeDocument/2006/relationships/slideLayout" Target="../slideLayouts/slideLayout55.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image" Target="../media/image12.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oleObject" Target="../embeddings/oleObject1.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tags" Target="../tags/tag1.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theme" Target="../theme/theme9.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C01664-497C-464B-8CEE-4CA7A27447AF}"/>
              </a:ext>
            </a:extLst>
          </p:cNvPr>
          <p:cNvPicPr>
            <a:picLocks noChangeAspect="1"/>
          </p:cNvPicPr>
          <p:nvPr userDrawn="1"/>
        </p:nvPicPr>
        <p:blipFill>
          <a:blip r:embed="rId5"/>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8E7CF10D-07BC-41D1-A2EB-2309BD863F15}"/>
              </a:ext>
            </a:extLst>
          </p:cNvPr>
          <p:cNvPicPr>
            <a:picLocks noChangeAspect="1"/>
          </p:cNvPicPr>
          <p:nvPr userDrawn="1"/>
        </p:nvPicPr>
        <p:blipFill>
          <a:blip r:embed="rId6"/>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709458026"/>
      </p:ext>
    </p:extLst>
  </p:cSld>
  <p:clrMap bg1="dk1" tx1="lt1" bg2="dk2" tx2="lt2" accent1="accent1" accent2="accent2" accent3="accent3" accent4="accent4" accent5="accent5" accent6="accent6" hlink="hlink" folHlink="folHlink"/>
  <p:sldLayoutIdLst>
    <p:sldLayoutId id="2147483910" r:id="rId1"/>
    <p:sldLayoutId id="214748391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D275B4-9EB8-4E1D-9A48-9210B3A34AE4}"/>
              </a:ext>
            </a:extLst>
          </p:cNvPr>
          <p:cNvPicPr>
            <a:picLocks noChangeAspect="1"/>
          </p:cNvPicPr>
          <p:nvPr userDrawn="1"/>
        </p:nvPicPr>
        <p:blipFill>
          <a:blip r:embed="rId4"/>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C5CEB914-C81F-44DF-9CDF-6363AE6B3A0C}"/>
              </a:ext>
            </a:extLst>
          </p:cNvPr>
          <p:cNvPicPr>
            <a:picLocks noChangeAspect="1"/>
          </p:cNvPicPr>
          <p:nvPr userDrawn="1"/>
        </p:nvPicPr>
        <p:blipFill>
          <a:blip r:embed="rId5"/>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3457822437"/>
      </p:ext>
    </p:extLst>
  </p:cSld>
  <p:clrMap bg1="lt1" tx1="dk1" bg2="lt2" tx2="dk2" accent1="accent1" accent2="accent2" accent3="accent3" accent4="accent4" accent5="accent5" accent6="accent6" hlink="hlink" folHlink="folHlink"/>
  <p:sldLayoutIdLst>
    <p:sldLayoutId id="214748386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userDrawn="1">
          <p15:clr>
            <a:srgbClr val="F26B43"/>
          </p15:clr>
        </p15:guide>
        <p15:guide id="2" pos="7032" userDrawn="1">
          <p15:clr>
            <a:srgbClr val="F26B43"/>
          </p15:clr>
        </p15:guide>
        <p15:guide id="3" orient="horz" pos="3816" userDrawn="1">
          <p15:clr>
            <a:srgbClr val="F26B43"/>
          </p15:clr>
        </p15:guide>
        <p15:guide id="4" orient="horz" pos="76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F33B5-67C3-4271-B7A6-360D2CC1C9C2}"/>
              </a:ext>
            </a:extLst>
          </p:cNvPr>
          <p:cNvPicPr>
            <a:picLocks noChangeAspect="1"/>
          </p:cNvPicPr>
          <p:nvPr userDrawn="1"/>
        </p:nvPicPr>
        <p:blipFill>
          <a:blip r:embed="rId5"/>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F622E272-EA9D-4975-A642-9586A0892E75}"/>
              </a:ext>
            </a:extLst>
          </p:cNvPr>
          <p:cNvPicPr>
            <a:picLocks noChangeAspect="1"/>
          </p:cNvPicPr>
          <p:nvPr userDrawn="1"/>
        </p:nvPicPr>
        <p:blipFill>
          <a:blip r:embed="rId6"/>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4243132680"/>
      </p:ext>
    </p:extLst>
  </p:cSld>
  <p:clrMap bg1="lt1" tx1="dk1" bg2="lt2" tx2="dk2" accent1="accent1" accent2="accent2" accent3="accent3" accent4="accent4" accent5="accent5" accent6="accent6" hlink="hlink" folHlink="folHlink"/>
  <p:sldLayoutIdLst>
    <p:sldLayoutId id="2147483892" r:id="rId1"/>
    <p:sldLayoutId id="214748392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DFDDC5B-3048-484C-A715-26F321DEA9AB}"/>
              </a:ext>
            </a:extLst>
          </p:cNvPr>
          <p:cNvPicPr>
            <a:picLocks noChangeAspect="1"/>
          </p:cNvPicPr>
          <p:nvPr userDrawn="1"/>
        </p:nvPicPr>
        <p:blipFill>
          <a:blip r:embed="rId10"/>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68D7802D-E563-4572-96D7-5A0C37A51800}"/>
              </a:ext>
            </a:extLst>
          </p:cNvPr>
          <p:cNvPicPr>
            <a:picLocks noChangeAspect="1"/>
          </p:cNvPicPr>
          <p:nvPr userDrawn="1"/>
        </p:nvPicPr>
        <p:blipFill>
          <a:blip r:embed="rId11"/>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2324969616"/>
      </p:ext>
    </p:extLst>
  </p:cSld>
  <p:clrMap bg1="lt1" tx1="dk1" bg2="lt2" tx2="dk2" accent1="accent1" accent2="accent2" accent3="accent3" accent4="accent4" accent5="accent5" accent6="accent6" hlink="hlink" folHlink="folHlink"/>
  <p:sldLayoutIdLst>
    <p:sldLayoutId id="2147483908" r:id="rId1"/>
    <p:sldLayoutId id="2147483904" r:id="rId2"/>
    <p:sldLayoutId id="2147483905" r:id="rId3"/>
    <p:sldLayoutId id="2147483906" r:id="rId4"/>
    <p:sldLayoutId id="2147483911" r:id="rId5"/>
    <p:sldLayoutId id="2147483913" r:id="rId6"/>
    <p:sldLayoutId id="2147483959"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userDrawn="1">
          <p15:clr>
            <a:srgbClr val="F26B43"/>
          </p15:clr>
        </p15:guide>
        <p15:guide id="2" pos="7032" userDrawn="1">
          <p15:clr>
            <a:srgbClr val="F26B43"/>
          </p15:clr>
        </p15:guide>
        <p15:guide id="3" orient="horz" pos="768" userDrawn="1">
          <p15:clr>
            <a:srgbClr val="F26B43"/>
          </p15:clr>
        </p15:guide>
        <p15:guide id="4" orient="horz" pos="381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B9CFE2-464D-4E17-8CFE-4A4B15C14163}"/>
              </a:ext>
            </a:extLst>
          </p:cNvPr>
          <p:cNvPicPr>
            <a:picLocks noChangeAspect="1"/>
          </p:cNvPicPr>
          <p:nvPr userDrawn="1"/>
        </p:nvPicPr>
        <p:blipFill>
          <a:blip r:embed="rId5"/>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90D64050-0209-4F6E-BDAF-5B716C4E9805}"/>
              </a:ext>
            </a:extLst>
          </p:cNvPr>
          <p:cNvPicPr>
            <a:picLocks noChangeAspect="1"/>
          </p:cNvPicPr>
          <p:nvPr userDrawn="1"/>
        </p:nvPicPr>
        <p:blipFill>
          <a:blip r:embed="rId6"/>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2759036988"/>
      </p:ext>
    </p:extLst>
  </p:cSld>
  <p:clrMap bg1="lt1" tx1="dk1" bg2="lt2" tx2="dk2" accent1="accent1" accent2="accent2" accent3="accent3" accent4="accent4" accent5="accent5" accent6="accent6" hlink="hlink" folHlink="folHlink"/>
  <p:sldLayoutIdLst>
    <p:sldLayoutId id="2147483878" r:id="rId1"/>
    <p:sldLayoutId id="214748388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p15:clr>
            <a:srgbClr val="F26B43"/>
          </p15:clr>
        </p15:guide>
        <p15:guide id="2" pos="7032">
          <p15:clr>
            <a:srgbClr val="F26B43"/>
          </p15:clr>
        </p15:guide>
        <p15:guide id="3" orient="horz" pos="768">
          <p15:clr>
            <a:srgbClr val="F26B43"/>
          </p15:clr>
        </p15:guide>
        <p15:guide id="4"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17EB01-16A9-4F2F-BA69-05DE339B8D00}"/>
              </a:ext>
            </a:extLst>
          </p:cNvPr>
          <p:cNvPicPr>
            <a:picLocks noChangeAspect="1"/>
          </p:cNvPicPr>
          <p:nvPr userDrawn="1"/>
        </p:nvPicPr>
        <p:blipFill>
          <a:blip r:embed="rId4"/>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7B90BAB8-E454-4EAB-806E-6AD0569FD218}"/>
              </a:ext>
            </a:extLst>
          </p:cNvPr>
          <p:cNvPicPr>
            <a:picLocks noChangeAspect="1"/>
          </p:cNvPicPr>
          <p:nvPr userDrawn="1"/>
        </p:nvPicPr>
        <p:blipFill>
          <a:blip r:embed="rId5"/>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3726395733"/>
      </p:ext>
    </p:extLst>
  </p:cSld>
  <p:clrMap bg1="lt1" tx1="dk1" bg2="lt2" tx2="dk2" accent1="accent1" accent2="accent2" accent3="accent3" accent4="accent4" accent5="accent5" accent6="accent6" hlink="hlink" folHlink="folHlink"/>
  <p:sldLayoutIdLst>
    <p:sldLayoutId id="214748386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userDrawn="1">
          <p15:clr>
            <a:srgbClr val="F26B43"/>
          </p15:clr>
        </p15:guide>
        <p15:guide id="2" pos="7032" userDrawn="1">
          <p15:clr>
            <a:srgbClr val="F26B43"/>
          </p15:clr>
        </p15:guide>
        <p15:guide id="3" orient="horz" pos="768" userDrawn="1">
          <p15:clr>
            <a:srgbClr val="F26B43"/>
          </p15:clr>
        </p15:guide>
        <p15:guide id="4" orient="horz" pos="381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7975EA-ED3C-40B2-A889-2E307B06D40A}"/>
              </a:ext>
            </a:extLst>
          </p:cNvPr>
          <p:cNvPicPr>
            <a:picLocks noChangeAspect="1"/>
          </p:cNvPicPr>
          <p:nvPr userDrawn="1"/>
        </p:nvPicPr>
        <p:blipFill>
          <a:blip r:embed="rId4"/>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DD1426CE-3808-4A85-A8DA-99FA2E79CE13}"/>
              </a:ext>
            </a:extLst>
          </p:cNvPr>
          <p:cNvPicPr>
            <a:picLocks noChangeAspect="1"/>
          </p:cNvPicPr>
          <p:nvPr userDrawn="1"/>
        </p:nvPicPr>
        <p:blipFill>
          <a:blip r:embed="rId5"/>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3358766161"/>
      </p:ext>
    </p:extLst>
  </p:cSld>
  <p:clrMap bg1="lt1" tx1="dk1" bg2="lt2" tx2="dk2" accent1="accent1" accent2="accent2" accent3="accent3" accent4="accent4" accent5="accent5" accent6="accent6" hlink="hlink" folHlink="folHlink"/>
  <p:sldLayoutIdLst>
    <p:sldLayoutId id="214748391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p15:clr>
            <a:srgbClr val="F26B43"/>
          </p15:clr>
        </p15:guide>
        <p15:guide id="2" pos="7032">
          <p15:clr>
            <a:srgbClr val="F26B43"/>
          </p15:clr>
        </p15:guide>
        <p15:guide id="3" orient="horz" pos="3816">
          <p15:clr>
            <a:srgbClr val="F26B43"/>
          </p15:clr>
        </p15:guide>
        <p15:guide id="4" orient="horz" pos="7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76912C-43BE-483C-912D-BB7A7B24D1A3}"/>
              </a:ext>
            </a:extLst>
          </p:cNvPr>
          <p:cNvPicPr>
            <a:picLocks noChangeAspect="1"/>
          </p:cNvPicPr>
          <p:nvPr userDrawn="1"/>
        </p:nvPicPr>
        <p:blipFill>
          <a:blip r:embed="rId8"/>
          <a:stretch>
            <a:fillRect/>
          </a:stretch>
        </p:blipFill>
        <p:spPr>
          <a:xfrm>
            <a:off x="408894" y="5781675"/>
            <a:ext cx="1076325" cy="933450"/>
          </a:xfrm>
          <a:prstGeom prst="rect">
            <a:avLst/>
          </a:prstGeom>
        </p:spPr>
      </p:pic>
      <p:pic>
        <p:nvPicPr>
          <p:cNvPr id="3" name="Picture 2">
            <a:extLst>
              <a:ext uri="{FF2B5EF4-FFF2-40B4-BE49-F238E27FC236}">
                <a16:creationId xmlns:a16="http://schemas.microsoft.com/office/drawing/2014/main" id="{7788B717-9302-4324-99A1-BA67FC45E43C}"/>
              </a:ext>
            </a:extLst>
          </p:cNvPr>
          <p:cNvPicPr>
            <a:picLocks noChangeAspect="1"/>
          </p:cNvPicPr>
          <p:nvPr userDrawn="1"/>
        </p:nvPicPr>
        <p:blipFill>
          <a:blip r:embed="rId9"/>
          <a:stretch>
            <a:fillRect/>
          </a:stretch>
        </p:blipFill>
        <p:spPr>
          <a:xfrm>
            <a:off x="8556171" y="6059179"/>
            <a:ext cx="1219200" cy="676275"/>
          </a:xfrm>
          <a:prstGeom prst="rect">
            <a:avLst/>
          </a:prstGeom>
        </p:spPr>
      </p:pic>
    </p:spTree>
    <p:extLst>
      <p:ext uri="{BB962C8B-B14F-4D97-AF65-F5344CB8AC3E}">
        <p14:creationId xmlns:p14="http://schemas.microsoft.com/office/powerpoint/2010/main" val="1992008218"/>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64">
          <p15:clr>
            <a:srgbClr val="F26B43"/>
          </p15:clr>
        </p15:guide>
        <p15:guide id="2" pos="7032">
          <p15:clr>
            <a:srgbClr val="F26B43"/>
          </p15:clr>
        </p15:guide>
        <p15:guide id="3" orient="horz" pos="768">
          <p15:clr>
            <a:srgbClr val="F26B43"/>
          </p15:clr>
        </p15:guide>
        <p15:guide id="4" orient="horz" pos="38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375210-0F31-BD22-8419-D4D3BEC38086}"/>
              </a:ext>
            </a:extLst>
          </p:cNvPr>
          <p:cNvGraphicFramePr>
            <a:graphicFrameLocks noChangeAspect="1"/>
          </p:cNvGraphicFramePr>
          <p:nvPr userDrawn="1">
            <p:custDataLst>
              <p:tags r:id="rId36"/>
            </p:custDataLst>
            <p:extLst>
              <p:ext uri="{D42A27DB-BD31-4B8C-83A1-F6EECF244321}">
                <p14:modId xmlns:p14="http://schemas.microsoft.com/office/powerpoint/2010/main" val="15534040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7" imgW="360" imgH="360" progId="TCLayout.ActiveDocument.1">
                  <p:embed/>
                </p:oleObj>
              </mc:Choice>
              <mc:Fallback>
                <p:oleObj name="think-cell Slide" r:id="rId37" imgW="360" imgH="360" progId="TCLayout.ActiveDocument.1">
                  <p:embed/>
                  <p:pic>
                    <p:nvPicPr>
                      <p:cNvPr id="8" name="Object 7" hidden="1">
                        <a:extLst>
                          <a:ext uri="{FF2B5EF4-FFF2-40B4-BE49-F238E27FC236}">
                            <a16:creationId xmlns:a16="http://schemas.microsoft.com/office/drawing/2014/main" id="{EA375210-0F31-BD22-8419-D4D3BEC38086}"/>
                          </a:ext>
                        </a:extLst>
                      </p:cNvPr>
                      <p:cNvPicPr/>
                      <p:nvPr/>
                    </p:nvPicPr>
                    <p:blipFill>
                      <a:blip r:embed="rId38"/>
                      <a:stretch>
                        <a:fillRect/>
                      </a:stretch>
                    </p:blipFill>
                    <p:spPr>
                      <a:xfrm>
                        <a:off x="2118" y="2118"/>
                        <a:ext cx="2117" cy="2117"/>
                      </a:xfrm>
                      <a:prstGeom prst="rect">
                        <a:avLst/>
                      </a:prstGeom>
                    </p:spPr>
                  </p:pic>
                </p:oleObj>
              </mc:Fallback>
            </mc:AlternateContent>
          </a:graphicData>
        </a:graphic>
      </p:graphicFrame>
      <p:pic>
        <p:nvPicPr>
          <p:cNvPr id="9" name="Billede 8">
            <a:extLst>
              <a:ext uri="{FF2B5EF4-FFF2-40B4-BE49-F238E27FC236}">
                <a16:creationId xmlns:a16="http://schemas.microsoft.com/office/drawing/2014/main" id="{8292A618-08F2-42FD-A234-3FCA5E8480D5}"/>
              </a:ext>
            </a:extLst>
          </p:cNvPr>
          <p:cNvPicPr>
            <a:picLocks noChangeAspect="1"/>
          </p:cNvPicPr>
          <p:nvPr userDrawn="1"/>
        </p:nvPicPr>
        <p:blipFill>
          <a:blip r:embed="rId39"/>
          <a:stretch>
            <a:fillRect/>
          </a:stretch>
        </p:blipFill>
        <p:spPr>
          <a:xfrm>
            <a:off x="10179285" y="347285"/>
            <a:ext cx="1776000" cy="408276"/>
          </a:xfrm>
          <a:prstGeom prst="rect">
            <a:avLst/>
          </a:prstGeom>
        </p:spPr>
      </p:pic>
      <p:sp>
        <p:nvSpPr>
          <p:cNvPr id="2" name="Pladsholder til titel 1">
            <a:extLst>
              <a:ext uri="{FF2B5EF4-FFF2-40B4-BE49-F238E27FC236}">
                <a16:creationId xmlns:a16="http://schemas.microsoft.com/office/drawing/2014/main" id="{76F0AC6B-E11C-4402-9BAB-67617E3AE83E}"/>
              </a:ext>
            </a:extLst>
          </p:cNvPr>
          <p:cNvSpPr>
            <a:spLocks noGrp="1"/>
          </p:cNvSpPr>
          <p:nvPr>
            <p:ph type="title"/>
          </p:nvPr>
        </p:nvSpPr>
        <p:spPr>
          <a:xfrm>
            <a:off x="316800" y="720000"/>
            <a:ext cx="9033600" cy="705600"/>
          </a:xfrm>
          <a:prstGeom prst="rect">
            <a:avLst/>
          </a:prstGeom>
        </p:spPr>
        <p:txBody>
          <a:bodyPr vert="horz" lIns="91440" tIns="45720" rIns="91440" bIns="45720" rtlCol="0" anchor="ctr">
            <a:noAutofit/>
          </a:bodyPr>
          <a:lstStyle/>
          <a:p>
            <a:r>
              <a:rPr lang="da-DK"/>
              <a:t>Klik for at redigere titeltypografien i masteren</a:t>
            </a:r>
            <a:endParaRPr lang="en-US"/>
          </a:p>
        </p:txBody>
      </p:sp>
      <p:sp>
        <p:nvSpPr>
          <p:cNvPr id="3" name="Pladsholder til tekst 2">
            <a:extLst>
              <a:ext uri="{FF2B5EF4-FFF2-40B4-BE49-F238E27FC236}">
                <a16:creationId xmlns:a16="http://schemas.microsoft.com/office/drawing/2014/main" id="{89C85685-E58E-4B89-9E3C-FDCD16B90484}"/>
              </a:ext>
            </a:extLst>
          </p:cNvPr>
          <p:cNvSpPr>
            <a:spLocks noGrp="1"/>
          </p:cNvSpPr>
          <p:nvPr>
            <p:ph type="body" idx="1"/>
          </p:nvPr>
        </p:nvSpPr>
        <p:spPr>
          <a:xfrm>
            <a:off x="316800" y="1344000"/>
            <a:ext cx="9033600" cy="4987200"/>
          </a:xfrm>
          <a:prstGeom prst="rect">
            <a:avLst/>
          </a:prstGeom>
        </p:spPr>
        <p:txBody>
          <a:bodyPr vert="horz" lIns="91440" tIns="45720" rIns="91440" bIns="45720" rtlCol="0">
            <a:normAutofit/>
          </a:bodyPr>
          <a:lstStyle/>
          <a:p>
            <a:pPr lvl="0"/>
            <a:r>
              <a:rPr lang="en-US" noProof="0" err="1"/>
              <a:t>Klik</a:t>
            </a:r>
            <a:r>
              <a:rPr lang="en-US" noProof="0"/>
              <a:t> for at </a:t>
            </a:r>
            <a:r>
              <a:rPr lang="en-US" noProof="0" err="1"/>
              <a:t>redigere</a:t>
            </a:r>
            <a:r>
              <a:rPr lang="en-US" noProof="0"/>
              <a:t> </a:t>
            </a:r>
            <a:r>
              <a:rPr lang="en-US" noProof="0" err="1"/>
              <a:t>teksttypografierne</a:t>
            </a:r>
            <a:r>
              <a:rPr lang="en-US" noProof="0"/>
              <a:t> </a:t>
            </a:r>
            <a:r>
              <a:rPr lang="en-US" noProof="0" err="1"/>
              <a:t>i</a:t>
            </a:r>
            <a:r>
              <a:rPr lang="en-US" noProof="0"/>
              <a:t> </a:t>
            </a:r>
            <a:r>
              <a:rPr lang="en-US" noProof="0" err="1"/>
              <a:t>masteren</a:t>
            </a:r>
            <a:endParaRPr lang="en-US" noProof="0"/>
          </a:p>
          <a:p>
            <a:pPr lvl="1"/>
            <a:r>
              <a:rPr lang="en-US" noProof="0" err="1"/>
              <a:t>Andet</a:t>
            </a:r>
            <a:r>
              <a:rPr lang="en-US" noProof="0"/>
              <a:t> </a:t>
            </a:r>
            <a:r>
              <a:rPr lang="en-US" noProof="0" err="1"/>
              <a:t>niveau</a:t>
            </a:r>
            <a:endParaRPr lang="en-US" noProof="0"/>
          </a:p>
          <a:p>
            <a:pPr lvl="2"/>
            <a:r>
              <a:rPr lang="en-US" noProof="0" err="1"/>
              <a:t>Tredje</a:t>
            </a:r>
            <a:r>
              <a:rPr lang="en-US" noProof="0"/>
              <a:t> </a:t>
            </a:r>
            <a:r>
              <a:rPr lang="en-US" noProof="0" err="1"/>
              <a:t>niveau</a:t>
            </a:r>
            <a:endParaRPr lang="en-US" noProof="0"/>
          </a:p>
          <a:p>
            <a:pPr lvl="3"/>
            <a:r>
              <a:rPr lang="en-US" noProof="0" err="1"/>
              <a:t>Fjerde</a:t>
            </a:r>
            <a:r>
              <a:rPr lang="en-US" noProof="0"/>
              <a:t> </a:t>
            </a:r>
            <a:r>
              <a:rPr lang="en-US" noProof="0" err="1"/>
              <a:t>niveau</a:t>
            </a:r>
            <a:endParaRPr lang="en-US" noProof="0"/>
          </a:p>
          <a:p>
            <a:pPr lvl="4"/>
            <a:r>
              <a:rPr lang="en-US" noProof="0" err="1"/>
              <a:t>Femte</a:t>
            </a:r>
            <a:r>
              <a:rPr lang="en-US" noProof="0"/>
              <a:t> </a:t>
            </a:r>
            <a:r>
              <a:rPr lang="en-US" noProof="0" err="1"/>
              <a:t>niveau</a:t>
            </a:r>
            <a:endParaRPr lang="en-US" noProof="0"/>
          </a:p>
        </p:txBody>
      </p:sp>
      <p:sp>
        <p:nvSpPr>
          <p:cNvPr id="4" name="Pladsholder til dato 3">
            <a:extLst>
              <a:ext uri="{FF2B5EF4-FFF2-40B4-BE49-F238E27FC236}">
                <a16:creationId xmlns:a16="http://schemas.microsoft.com/office/drawing/2014/main" id="{2F5DF5C1-473F-44FA-8157-BBC4F29B6B51}"/>
              </a:ext>
            </a:extLst>
          </p:cNvPr>
          <p:cNvSpPr>
            <a:spLocks noGrp="1"/>
          </p:cNvSpPr>
          <p:nvPr>
            <p:ph type="dt" sz="half" idx="2"/>
          </p:nvPr>
        </p:nvSpPr>
        <p:spPr>
          <a:xfrm>
            <a:off x="9233373" y="6278563"/>
            <a:ext cx="2743200" cy="278400"/>
          </a:xfrm>
          <a:prstGeom prst="rect">
            <a:avLst/>
          </a:prstGeom>
        </p:spPr>
        <p:txBody>
          <a:bodyPr vert="horz" lIns="91440" tIns="45720" rIns="91440" bIns="45720" rtlCol="0" anchor="ctr"/>
          <a:lstStyle>
            <a:lvl1pPr algn="l">
              <a:defRPr sz="1000">
                <a:solidFill>
                  <a:schemeClr val="tx1"/>
                </a:solidFill>
              </a:defRPr>
            </a:lvl1pPr>
          </a:lstStyle>
          <a:p>
            <a:pPr algn="r"/>
            <a:fld id="{3773308A-2C49-49AA-B7E5-A2C551993136}" type="datetimeFigureOut">
              <a:rPr lang="en-US" smtClean="0"/>
              <a:pPr algn="r"/>
              <a:t>4/18/2024</a:t>
            </a:fld>
            <a:endParaRPr lang="en-US"/>
          </a:p>
        </p:txBody>
      </p:sp>
      <p:sp>
        <p:nvSpPr>
          <p:cNvPr id="5" name="Pladsholder til sidefod 4">
            <a:extLst>
              <a:ext uri="{FF2B5EF4-FFF2-40B4-BE49-F238E27FC236}">
                <a16:creationId xmlns:a16="http://schemas.microsoft.com/office/drawing/2014/main" id="{CC22DED2-FFCE-4F2A-A4C4-30448AD00094}"/>
              </a:ext>
            </a:extLst>
          </p:cNvPr>
          <p:cNvSpPr>
            <a:spLocks noGrp="1"/>
          </p:cNvSpPr>
          <p:nvPr>
            <p:ph type="ftr" sz="quarter" idx="3"/>
          </p:nvPr>
        </p:nvSpPr>
        <p:spPr>
          <a:xfrm>
            <a:off x="803136" y="6273200"/>
            <a:ext cx="8205397" cy="278400"/>
          </a:xfrm>
          <a:prstGeom prst="rect">
            <a:avLst/>
          </a:prstGeom>
        </p:spPr>
        <p:txBody>
          <a:bodyPr vert="horz" lIns="91440" tIns="45720" rIns="91440" bIns="45720" rtlCol="0" anchor="ctr"/>
          <a:lstStyle>
            <a:lvl1pPr algn="l">
              <a:defRPr sz="1000">
                <a:solidFill>
                  <a:schemeClr val="tx1"/>
                </a:solidFill>
              </a:defRPr>
            </a:lvl1pPr>
          </a:lstStyle>
          <a:p>
            <a:endParaRPr lang="en-US"/>
          </a:p>
        </p:txBody>
      </p:sp>
      <p:sp>
        <p:nvSpPr>
          <p:cNvPr id="6" name="Pladsholder til slidenummer 5">
            <a:extLst>
              <a:ext uri="{FF2B5EF4-FFF2-40B4-BE49-F238E27FC236}">
                <a16:creationId xmlns:a16="http://schemas.microsoft.com/office/drawing/2014/main" id="{55AC6019-F29D-411F-882E-88576803A847}"/>
              </a:ext>
            </a:extLst>
          </p:cNvPr>
          <p:cNvSpPr>
            <a:spLocks noGrp="1"/>
          </p:cNvSpPr>
          <p:nvPr>
            <p:ph type="sldNum" sz="quarter" idx="4"/>
          </p:nvPr>
        </p:nvSpPr>
        <p:spPr>
          <a:xfrm>
            <a:off x="244475" y="6278563"/>
            <a:ext cx="545964" cy="278400"/>
          </a:xfrm>
          <a:prstGeom prst="rect">
            <a:avLst/>
          </a:prstGeom>
        </p:spPr>
        <p:txBody>
          <a:bodyPr vert="horz" lIns="91440" tIns="45720" rIns="91440" bIns="45720" rtlCol="0" anchor="ctr"/>
          <a:lstStyle>
            <a:lvl1pPr algn="r">
              <a:defRPr sz="1000" b="0" i="0">
                <a:solidFill>
                  <a:schemeClr val="tx1"/>
                </a:solidFill>
                <a:latin typeface="+mn-lt"/>
                <a:cs typeface="Calibri Light" panose="020F0302020204030204" pitchFamily="34" charset="0"/>
              </a:defRPr>
            </a:lvl1pPr>
          </a:lstStyle>
          <a:p>
            <a:fld id="{24E63CB2-98B0-49EC-843D-EA0792C8B4C9}" type="slidenum">
              <a:rPr lang="en-US" smtClean="0"/>
              <a:pPr/>
              <a:t>‹#›</a:t>
            </a:fld>
            <a:endParaRPr lang="en-US"/>
          </a:p>
        </p:txBody>
      </p:sp>
    </p:spTree>
    <p:extLst>
      <p:ext uri="{BB962C8B-B14F-4D97-AF65-F5344CB8AC3E}">
        <p14:creationId xmlns:p14="http://schemas.microsoft.com/office/powerpoint/2010/main" val="3908223405"/>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2" r:id="rId28"/>
    <p:sldLayoutId id="2147483953" r:id="rId29"/>
    <p:sldLayoutId id="2147483954" r:id="rId30"/>
    <p:sldLayoutId id="2147483955" r:id="rId31"/>
    <p:sldLayoutId id="2147483956" r:id="rId32"/>
    <p:sldLayoutId id="2147483957" r:id="rId33"/>
    <p:sldLayoutId id="2147483958" r:id="rId34"/>
  </p:sldLayoutIdLst>
  <p:txStyles>
    <p:titleStyle>
      <a:lvl1pPr algn="l" defTabSz="1219170" rtl="0" eaLnBrk="1" latinLnBrk="0" hangingPunct="1">
        <a:lnSpc>
          <a:spcPct val="90000"/>
        </a:lnSpc>
        <a:spcBef>
          <a:spcPct val="0"/>
        </a:spcBef>
        <a:buNone/>
        <a:defRPr sz="2200" kern="1200">
          <a:solidFill>
            <a:schemeClr val="accent1"/>
          </a:solidFill>
          <a:latin typeface="+mj-lt"/>
          <a:ea typeface="+mj-ea"/>
          <a:cs typeface="+mj-cs"/>
        </a:defRPr>
      </a:lvl1pPr>
    </p:titleStyle>
    <p:bodyStyle>
      <a:lvl1pPr marL="0" indent="0" algn="l" defTabSz="1219170" rtl="0" eaLnBrk="1" latinLnBrk="0" hangingPunct="1">
        <a:lnSpc>
          <a:spcPct val="90000"/>
        </a:lnSpc>
        <a:spcBef>
          <a:spcPts val="0"/>
        </a:spcBef>
        <a:buFontTx/>
        <a:buNone/>
        <a:defRPr sz="1733" kern="1200">
          <a:solidFill>
            <a:schemeClr val="tx1"/>
          </a:solidFill>
          <a:latin typeface="+mn-lt"/>
          <a:ea typeface="+mn-ea"/>
          <a:cs typeface="+mn-cs"/>
        </a:defRPr>
      </a:lvl1pPr>
      <a:lvl2pPr marL="596885" indent="-239178" algn="l" defTabSz="1219170" rtl="0" eaLnBrk="1" latinLnBrk="0" hangingPunct="1">
        <a:lnSpc>
          <a:spcPct val="130000"/>
        </a:lnSpc>
        <a:spcBef>
          <a:spcPts val="0"/>
        </a:spcBef>
        <a:buFont typeface="Arial" panose="020B0604020202020204" pitchFamily="34" charset="0"/>
        <a:buChar char="•"/>
        <a:tabLst/>
        <a:defRPr sz="1467" kern="1200">
          <a:solidFill>
            <a:schemeClr val="tx1"/>
          </a:solidFill>
          <a:latin typeface="+mn-lt"/>
          <a:ea typeface="+mn-ea"/>
          <a:cs typeface="+mn-cs"/>
        </a:defRPr>
      </a:lvl2pPr>
      <a:lvl3pPr marL="829713" indent="-232828" algn="l" defTabSz="1219170" rtl="0" eaLnBrk="1" latinLnBrk="0" hangingPunct="1">
        <a:lnSpc>
          <a:spcPct val="110000"/>
        </a:lnSpc>
        <a:spcBef>
          <a:spcPts val="0"/>
        </a:spcBef>
        <a:buFont typeface="Arial" panose="020B0604020202020204" pitchFamily="34" charset="0"/>
        <a:buChar char="•"/>
        <a:tabLst/>
        <a:defRPr sz="1200" kern="1200">
          <a:solidFill>
            <a:schemeClr val="tx1"/>
          </a:solidFill>
          <a:latin typeface="+mn-lt"/>
          <a:ea typeface="+mn-ea"/>
          <a:cs typeface="+mn-cs"/>
        </a:defRPr>
      </a:lvl3pPr>
      <a:lvl4pPr marL="829713" indent="-232828" algn="l" defTabSz="1219170" rtl="0" eaLnBrk="1" latinLnBrk="0" hangingPunct="1">
        <a:lnSpc>
          <a:spcPct val="110000"/>
        </a:lnSpc>
        <a:spcBef>
          <a:spcPts val="0"/>
        </a:spcBef>
        <a:buFont typeface="Arial" panose="020B0604020202020204" pitchFamily="34" charset="0"/>
        <a:buChar char="•"/>
        <a:tabLst/>
        <a:defRPr sz="1200" kern="1200">
          <a:solidFill>
            <a:schemeClr val="tx1"/>
          </a:solidFill>
          <a:latin typeface="+mn-lt"/>
          <a:ea typeface="+mn-ea"/>
          <a:cs typeface="+mn-cs"/>
        </a:defRPr>
      </a:lvl4pPr>
      <a:lvl5pPr marL="829713" indent="-232828" algn="l" defTabSz="1219170" rtl="0" eaLnBrk="1" latinLnBrk="0" hangingPunct="1">
        <a:lnSpc>
          <a:spcPct val="110000"/>
        </a:lnSpc>
        <a:spcBef>
          <a:spcPts val="0"/>
        </a:spcBef>
        <a:buFont typeface="Arial" panose="020B0604020202020204" pitchFamily="34" charset="0"/>
        <a:buChar char="•"/>
        <a:tabLst/>
        <a:defRPr sz="12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svg"/></Relationships>
</file>

<file path=ppt/slides/_rels/slide13.xml.rels><?xml version="1.0" encoding="UTF-8" standalone="yes"?>
<Relationships xmlns="http://schemas.openxmlformats.org/package/2006/relationships"><Relationship Id="rId3" Type="http://schemas.openxmlformats.org/officeDocument/2006/relationships/hyperlink" Target="http://www.smartenergy.illinois.edu/water" TargetMode="External"/><Relationship Id="rId2" Type="http://schemas.openxmlformats.org/officeDocument/2006/relationships/hyperlink" Target="mailto:spmaurer@illinois.edu"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hyperlink" Target="http://www.smartenergy.illinois.edu/water" TargetMode="Externa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extBox 4"/>
          <p:cNvSpPr txBox="1"/>
          <p:nvPr/>
        </p:nvSpPr>
        <p:spPr>
          <a:xfrm>
            <a:off x="2928551" y="1473303"/>
            <a:ext cx="6551133" cy="1200329"/>
          </a:xfrm>
          <a:prstGeom prst="rect">
            <a:avLst/>
          </a:prstGeom>
          <a:noFill/>
        </p:spPr>
        <p:txBody>
          <a:bodyPr wrap="square" rtlCol="0">
            <a:spAutoFit/>
          </a:bodyPr>
          <a:lstStyle/>
          <a:p>
            <a:pPr algn="ctr"/>
            <a:r>
              <a:rPr lang="en-US" sz="3600" b="1" dirty="0">
                <a:latin typeface="Arial" panose="020B0604020202020204" pitchFamily="34" charset="0"/>
                <a:cs typeface="Arial" panose="020B0604020202020204" pitchFamily="34" charset="0"/>
              </a:rPr>
              <a:t>Illinois EPA Public Water Infrastructure Program</a:t>
            </a:r>
          </a:p>
        </p:txBody>
      </p:sp>
      <p:sp>
        <p:nvSpPr>
          <p:cNvPr id="7" name="TextBox 6"/>
          <p:cNvSpPr txBox="1"/>
          <p:nvPr/>
        </p:nvSpPr>
        <p:spPr>
          <a:xfrm>
            <a:off x="3344204" y="2841786"/>
            <a:ext cx="5782807" cy="400110"/>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April 23, 2024</a:t>
            </a:r>
          </a:p>
        </p:txBody>
      </p:sp>
      <p:sp>
        <p:nvSpPr>
          <p:cNvPr id="18" name="TextBox 17"/>
          <p:cNvSpPr txBox="1"/>
          <p:nvPr/>
        </p:nvSpPr>
        <p:spPr>
          <a:xfrm>
            <a:off x="2811479" y="4932238"/>
            <a:ext cx="7008731" cy="369332"/>
          </a:xfrm>
          <a:prstGeom prst="rect">
            <a:avLst/>
          </a:prstGeom>
          <a:noFill/>
        </p:spPr>
        <p:txBody>
          <a:bodyPr wrap="square" rtlCol="0">
            <a:spAutoFit/>
          </a:bodyPr>
          <a:lstStyle/>
          <a:p>
            <a:r>
              <a:rPr lang="en-US" i="1" dirty="0">
                <a:solidFill>
                  <a:schemeClr val="bg1"/>
                </a:solidFill>
                <a:latin typeface="Arial" panose="020B0604020202020204" pitchFamily="34" charset="0"/>
                <a:cs typeface="Arial" panose="020B0604020202020204" pitchFamily="34" charset="0"/>
              </a:rPr>
              <a:t>Providing effective energy strategies for buildings and communities</a:t>
            </a:r>
          </a:p>
        </p:txBody>
      </p:sp>
    </p:spTree>
    <p:extLst>
      <p:ext uri="{BB962C8B-B14F-4D97-AF65-F5344CB8AC3E}">
        <p14:creationId xmlns:p14="http://schemas.microsoft.com/office/powerpoint/2010/main" val="20608325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5288693" y="944335"/>
            <a:ext cx="6681634" cy="4969329"/>
          </a:xfrm>
          <a:prstGeom prst="rect">
            <a:avLst/>
          </a:prstGeom>
        </p:spPr>
        <p:txBody>
          <a:bodyPr/>
          <a:lstStyle/>
          <a:p>
            <a:pPr marL="342900" indent="-342900">
              <a:buFont typeface="Arial" panose="020B0604020202020204" pitchFamily="34" charset="0"/>
              <a:buChar char="•"/>
            </a:pPr>
            <a:r>
              <a:rPr lang="en-US" sz="2000" b="1" dirty="0"/>
              <a:t>No-Cost Energy &amp; Sustainability Assessments for the following industries (US EPA P2 Funded):</a:t>
            </a:r>
          </a:p>
          <a:p>
            <a:pPr marL="1028700" lvl="1" indent="-342900"/>
            <a:r>
              <a:rPr lang="en-US" sz="2000" dirty="0"/>
              <a:t>Metal Finishers</a:t>
            </a:r>
          </a:p>
          <a:p>
            <a:pPr marL="1028700" lvl="1" indent="-342900"/>
            <a:r>
              <a:rPr lang="en-US" sz="2000" dirty="0"/>
              <a:t>Auto Body &amp; Repair Shops</a:t>
            </a:r>
          </a:p>
          <a:p>
            <a:pPr marL="1028700" lvl="1" indent="-342900"/>
            <a:r>
              <a:rPr lang="en-US" sz="2000" dirty="0"/>
              <a:t>Breweries</a:t>
            </a:r>
          </a:p>
          <a:p>
            <a:pPr marL="1028700" lvl="1" indent="-342900"/>
            <a:endParaRPr lang="en-US" sz="2000" dirty="0"/>
          </a:p>
          <a:p>
            <a:pPr marL="342900" indent="-342900">
              <a:buFont typeface="Arial" panose="020B0604020202020204" pitchFamily="34" charset="0"/>
              <a:buChar char="•"/>
            </a:pPr>
            <a:r>
              <a:rPr lang="en-US" sz="2000" b="1" dirty="0"/>
              <a:t>Energy Code Training &amp; Technical Assistance</a:t>
            </a:r>
          </a:p>
          <a:p>
            <a:pPr marL="342900" indent="-342900">
              <a:buFont typeface="Arial" panose="020B0604020202020204" pitchFamily="34" charset="0"/>
              <a:buChar char="•"/>
            </a:pPr>
            <a:endParaRPr lang="en-US" sz="2000" b="1" dirty="0"/>
          </a:p>
          <a:p>
            <a:pPr marL="342900" indent="-342900">
              <a:buFont typeface="Arial" panose="020B0604020202020204" pitchFamily="34" charset="0"/>
              <a:buChar char="•"/>
            </a:pPr>
            <a:r>
              <a:rPr lang="en-US" sz="2000" b="1" dirty="0"/>
              <a:t>Environmental Justice Thriving Communities Technical Assistance Center</a:t>
            </a:r>
          </a:p>
          <a:p>
            <a:pPr marL="342900" indent="-342900">
              <a:buFont typeface="Arial" panose="020B0604020202020204" pitchFamily="34" charset="0"/>
              <a:buChar char="•"/>
            </a:pPr>
            <a:endParaRPr lang="en-US" sz="2000" b="1" dirty="0"/>
          </a:p>
          <a:p>
            <a:pPr marL="342900" indent="-342900">
              <a:buFont typeface="Arial" panose="020B0604020202020204" pitchFamily="34" charset="0"/>
              <a:buChar char="•"/>
            </a:pPr>
            <a:r>
              <a:rPr lang="en-US" sz="2000" b="1" dirty="0"/>
              <a:t>Energy Assessments &amp; Quick Advice</a:t>
            </a:r>
          </a:p>
          <a:p>
            <a:endParaRPr lang="en-US" sz="2000" b="1" dirty="0"/>
          </a:p>
        </p:txBody>
      </p:sp>
      <p:sp>
        <p:nvSpPr>
          <p:cNvPr id="4" name="Text Placeholder 3">
            <a:extLst>
              <a:ext uri="{FF2B5EF4-FFF2-40B4-BE49-F238E27FC236}">
                <a16:creationId xmlns:a16="http://schemas.microsoft.com/office/drawing/2014/main" id="{2545DBB3-AD30-1F73-BA7E-EE82F3A5226D}"/>
              </a:ext>
            </a:extLst>
          </p:cNvPr>
          <p:cNvSpPr>
            <a:spLocks noGrp="1"/>
          </p:cNvSpPr>
          <p:nvPr>
            <p:ph type="body" sz="quarter" idx="10"/>
          </p:nvPr>
        </p:nvSpPr>
        <p:spPr/>
        <p:txBody>
          <a:bodyPr/>
          <a:lstStyle/>
          <a:p>
            <a:r>
              <a:rPr lang="en-US" dirty="0"/>
              <a:t>Other Programs for Municipalities</a:t>
            </a:r>
          </a:p>
        </p:txBody>
      </p:sp>
      <p:pic>
        <p:nvPicPr>
          <p:cNvPr id="1026" name="Picture 2" descr="Staff answering phone">
            <a:extLst>
              <a:ext uri="{FF2B5EF4-FFF2-40B4-BE49-F238E27FC236}">
                <a16:creationId xmlns:a16="http://schemas.microsoft.com/office/drawing/2014/main" id="{CCDF44F3-8B50-D956-3811-566188C1E7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621" y="1720214"/>
            <a:ext cx="4556761" cy="341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929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5288693" y="944335"/>
            <a:ext cx="6681634" cy="4969329"/>
          </a:xfrm>
          <a:prstGeom prst="rect">
            <a:avLst/>
          </a:prstGeom>
        </p:spPr>
        <p:txBody>
          <a:bodyPr/>
          <a:lstStyle/>
          <a:p>
            <a:pPr marL="342900" indent="-342900">
              <a:buFont typeface="Arial" panose="020B0604020202020204" pitchFamily="34" charset="0"/>
              <a:buChar char="•"/>
            </a:pPr>
            <a:r>
              <a:rPr lang="en-US" sz="2000" b="1" dirty="0"/>
              <a:t>No-Cost Energy &amp; Sustainability Assessments for the following industries (US EPA P2 Funded):</a:t>
            </a:r>
          </a:p>
          <a:p>
            <a:pPr marL="1028700" lvl="1" indent="-342900"/>
            <a:r>
              <a:rPr lang="en-US" sz="2000" dirty="0"/>
              <a:t>Metal Finishers</a:t>
            </a:r>
          </a:p>
          <a:p>
            <a:pPr marL="1028700" lvl="1" indent="-342900"/>
            <a:r>
              <a:rPr lang="en-US" sz="2000" dirty="0"/>
              <a:t>Auto Body &amp; Repair Shops</a:t>
            </a:r>
          </a:p>
          <a:p>
            <a:pPr marL="1028700" lvl="1" indent="-342900"/>
            <a:r>
              <a:rPr lang="en-US" sz="2000" dirty="0"/>
              <a:t>Breweries</a:t>
            </a:r>
          </a:p>
          <a:p>
            <a:pPr marL="1028700" lvl="1" indent="-342900"/>
            <a:endParaRPr lang="en-US" sz="2000" dirty="0"/>
          </a:p>
          <a:p>
            <a:pPr marL="342900" indent="-342900">
              <a:buFont typeface="Arial" panose="020B0604020202020204" pitchFamily="34" charset="0"/>
              <a:buChar char="•"/>
            </a:pPr>
            <a:r>
              <a:rPr lang="en-US" sz="2000" b="1" dirty="0"/>
              <a:t>Energy Code Training &amp; Technical Assistance</a:t>
            </a:r>
          </a:p>
          <a:p>
            <a:pPr marL="342900" indent="-342900">
              <a:buFont typeface="Arial" panose="020B0604020202020204" pitchFamily="34" charset="0"/>
              <a:buChar char="•"/>
            </a:pPr>
            <a:endParaRPr lang="en-US" sz="2000" b="1" dirty="0"/>
          </a:p>
          <a:p>
            <a:pPr marL="342900" indent="-342900">
              <a:buFont typeface="Arial" panose="020B0604020202020204" pitchFamily="34" charset="0"/>
              <a:buChar char="•"/>
            </a:pPr>
            <a:r>
              <a:rPr lang="en-US" sz="2000" b="1" dirty="0"/>
              <a:t>Environmental Justice Thriving Communities Technical Assistance Center</a:t>
            </a:r>
          </a:p>
          <a:p>
            <a:pPr marL="342900" indent="-342900">
              <a:buFont typeface="Arial" panose="020B0604020202020204" pitchFamily="34" charset="0"/>
              <a:buChar char="•"/>
            </a:pPr>
            <a:endParaRPr lang="en-US" sz="2000" b="1" dirty="0"/>
          </a:p>
          <a:p>
            <a:pPr marL="342900" indent="-342900">
              <a:buFont typeface="Arial" panose="020B0604020202020204" pitchFamily="34" charset="0"/>
              <a:buChar char="•"/>
            </a:pPr>
            <a:r>
              <a:rPr lang="en-US" sz="2000" b="1" dirty="0"/>
              <a:t>Energy Assessments &amp; Quick Advice</a:t>
            </a:r>
          </a:p>
          <a:p>
            <a:endParaRPr lang="en-US" sz="2000" b="1" dirty="0"/>
          </a:p>
        </p:txBody>
      </p:sp>
      <p:sp>
        <p:nvSpPr>
          <p:cNvPr id="4" name="Text Placeholder 3">
            <a:extLst>
              <a:ext uri="{FF2B5EF4-FFF2-40B4-BE49-F238E27FC236}">
                <a16:creationId xmlns:a16="http://schemas.microsoft.com/office/drawing/2014/main" id="{2545DBB3-AD30-1F73-BA7E-EE82F3A5226D}"/>
              </a:ext>
            </a:extLst>
          </p:cNvPr>
          <p:cNvSpPr>
            <a:spLocks noGrp="1"/>
          </p:cNvSpPr>
          <p:nvPr>
            <p:ph type="body" sz="quarter" idx="10"/>
          </p:nvPr>
        </p:nvSpPr>
        <p:spPr/>
        <p:txBody>
          <a:bodyPr/>
          <a:lstStyle/>
          <a:p>
            <a:r>
              <a:rPr lang="en-US" dirty="0"/>
              <a:t>Other Programs for Municipalities</a:t>
            </a:r>
          </a:p>
        </p:txBody>
      </p:sp>
      <p:pic>
        <p:nvPicPr>
          <p:cNvPr id="1026" name="Picture 2" descr="Staff answering phone">
            <a:extLst>
              <a:ext uri="{FF2B5EF4-FFF2-40B4-BE49-F238E27FC236}">
                <a16:creationId xmlns:a16="http://schemas.microsoft.com/office/drawing/2014/main" id="{CCDF44F3-8B50-D956-3811-566188C1E7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621" y="1720214"/>
            <a:ext cx="4556761" cy="341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586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438912" y="1353312"/>
            <a:ext cx="11531415" cy="4560352"/>
          </a:xfrm>
          <a:prstGeom prst="rect">
            <a:avLst/>
          </a:prstGeom>
        </p:spPr>
        <p:txBody>
          <a:bodyPr/>
          <a:lstStyle/>
          <a:p>
            <a:pPr marL="342900" indent="-342900">
              <a:buFont typeface="Arial" panose="020B0604020202020204" pitchFamily="34" charset="0"/>
              <a:buChar char="•"/>
            </a:pPr>
            <a:r>
              <a:rPr lang="en-US" sz="2000" dirty="0">
                <a:solidFill>
                  <a:srgbClr val="404040"/>
                </a:solidFill>
                <a:latin typeface="Trebuchet MS"/>
              </a:rPr>
              <a:t>Launched in 2022 due to Covid relief funding from the American Rescue Plan Act (ARPA).</a:t>
            </a:r>
          </a:p>
          <a:p>
            <a:pPr marL="342900" indent="-342900">
              <a:buFont typeface="Arial" panose="020B0604020202020204" pitchFamily="34" charset="0"/>
              <a:buChar char="•"/>
            </a:pPr>
            <a:r>
              <a:rPr lang="en-US" sz="2000" dirty="0">
                <a:solidFill>
                  <a:srgbClr val="404040"/>
                </a:solidFill>
                <a:latin typeface="Trebuchet MS"/>
              </a:rPr>
              <a:t>Free on-site technical assessments for dry cleaners, auto body &amp; auto repair shops, food &amp; beverage manufacturers, and metal finishers located in suburban Cook County.</a:t>
            </a:r>
            <a:endParaRPr lang="en-US" sz="2400" dirty="0"/>
          </a:p>
          <a:p>
            <a:pPr marL="342900" indent="-342900">
              <a:buFont typeface="Arial" panose="020B0604020202020204" pitchFamily="34" charset="0"/>
              <a:buChar char="•"/>
            </a:pPr>
            <a:r>
              <a:rPr lang="en-US" sz="2000" dirty="0">
                <a:solidFill>
                  <a:schemeClr val="bg2">
                    <a:lumMod val="25000"/>
                  </a:schemeClr>
                </a:solidFill>
                <a:latin typeface="Trebuchet MS"/>
              </a:rPr>
              <a:t>Recommendations cover energy, waste, toxics, and water reduction opportunities.</a:t>
            </a:r>
          </a:p>
          <a:p>
            <a:pPr marL="342900" indent="-342900">
              <a:buFont typeface="Arial" panose="020B0604020202020204" pitchFamily="34" charset="0"/>
              <a:buChar char="•"/>
            </a:pPr>
            <a:r>
              <a:rPr lang="en-US" sz="2000" dirty="0">
                <a:solidFill>
                  <a:srgbClr val="404040"/>
                </a:solidFill>
                <a:latin typeface="Trebuchet MS"/>
              </a:rPr>
              <a:t>Each site can request up to $300,000 for the recommendations on the reports. The County will 100% cover the top pollution prevention project and cover up to 50% for any other recommendation excluding fossil fuel-based projects will only receive a maximum of 25% funding.</a:t>
            </a:r>
          </a:p>
          <a:p>
            <a:endParaRPr lang="en-US" sz="2000" b="1" dirty="0"/>
          </a:p>
        </p:txBody>
      </p:sp>
      <p:sp>
        <p:nvSpPr>
          <p:cNvPr id="4" name="Text Placeholder 3">
            <a:extLst>
              <a:ext uri="{FF2B5EF4-FFF2-40B4-BE49-F238E27FC236}">
                <a16:creationId xmlns:a16="http://schemas.microsoft.com/office/drawing/2014/main" id="{2545DBB3-AD30-1F73-BA7E-EE82F3A5226D}"/>
              </a:ext>
            </a:extLst>
          </p:cNvPr>
          <p:cNvSpPr>
            <a:spLocks noGrp="1"/>
          </p:cNvSpPr>
          <p:nvPr>
            <p:ph type="body" sz="quarter" idx="10"/>
          </p:nvPr>
        </p:nvSpPr>
        <p:spPr/>
        <p:txBody>
          <a:bodyPr/>
          <a:lstStyle/>
          <a:p>
            <a:r>
              <a:rPr lang="en-US" dirty="0"/>
              <a:t>BRITE Program</a:t>
            </a:r>
          </a:p>
        </p:txBody>
      </p:sp>
      <p:pic>
        <p:nvPicPr>
          <p:cNvPr id="2" name="Graphic 1" descr="An oak leaf">
            <a:extLst>
              <a:ext uri="{FF2B5EF4-FFF2-40B4-BE49-F238E27FC236}">
                <a16:creationId xmlns:a16="http://schemas.microsoft.com/office/drawing/2014/main" id="{FF5EEA3E-6259-E36D-B96F-623FE8968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4617384" y="4371453"/>
            <a:ext cx="2957231" cy="3084421"/>
          </a:xfrm>
          <a:prstGeom prst="rect">
            <a:avLst/>
          </a:prstGeom>
        </p:spPr>
      </p:pic>
      <p:pic>
        <p:nvPicPr>
          <p:cNvPr id="6" name="Picture 5">
            <a:extLst>
              <a:ext uri="{FF2B5EF4-FFF2-40B4-BE49-F238E27FC236}">
                <a16:creationId xmlns:a16="http://schemas.microsoft.com/office/drawing/2014/main" id="{D0A17166-D9AB-9A18-A1AA-2B644B00B731}"/>
              </a:ext>
            </a:extLst>
          </p:cNvPr>
          <p:cNvPicPr>
            <a:picLocks noChangeAspect="1"/>
          </p:cNvPicPr>
          <p:nvPr/>
        </p:nvPicPr>
        <p:blipFill>
          <a:blip r:embed="rId5"/>
          <a:stretch>
            <a:fillRect/>
          </a:stretch>
        </p:blipFill>
        <p:spPr>
          <a:xfrm>
            <a:off x="216338" y="5504688"/>
            <a:ext cx="1323975" cy="1295400"/>
          </a:xfrm>
          <a:prstGeom prst="rect">
            <a:avLst/>
          </a:prstGeom>
        </p:spPr>
      </p:pic>
      <p:sp>
        <p:nvSpPr>
          <p:cNvPr id="9" name="Rectangle 8">
            <a:extLst>
              <a:ext uri="{FF2B5EF4-FFF2-40B4-BE49-F238E27FC236}">
                <a16:creationId xmlns:a16="http://schemas.microsoft.com/office/drawing/2014/main" id="{F2CD6EA1-17AF-1370-0C6B-D8FA23C8A014}"/>
              </a:ext>
            </a:extLst>
          </p:cNvPr>
          <p:cNvSpPr/>
          <p:nvPr/>
        </p:nvSpPr>
        <p:spPr>
          <a:xfrm>
            <a:off x="8449056" y="5913663"/>
            <a:ext cx="3742944" cy="944337"/>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logo with text on it&#10;&#10;Description automatically generated">
            <a:extLst>
              <a:ext uri="{FF2B5EF4-FFF2-40B4-BE49-F238E27FC236}">
                <a16:creationId xmlns:a16="http://schemas.microsoft.com/office/drawing/2014/main" id="{7737CE17-C3F2-657D-9EC2-2E95E3C6BD6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49056" y="5958653"/>
            <a:ext cx="3669774" cy="828099"/>
          </a:xfrm>
          <a:prstGeom prst="rect">
            <a:avLst/>
          </a:prstGeom>
        </p:spPr>
      </p:pic>
    </p:spTree>
    <p:extLst>
      <p:ext uri="{BB962C8B-B14F-4D97-AF65-F5344CB8AC3E}">
        <p14:creationId xmlns:p14="http://schemas.microsoft.com/office/powerpoint/2010/main" val="3280959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BC0032D-3B4F-FDBF-8E70-BD97AE3FC8A8}"/>
              </a:ext>
            </a:extLst>
          </p:cNvPr>
          <p:cNvSpPr txBox="1"/>
          <p:nvPr/>
        </p:nvSpPr>
        <p:spPr>
          <a:xfrm>
            <a:off x="2800678" y="1016468"/>
            <a:ext cx="6800193" cy="707886"/>
          </a:xfrm>
          <a:prstGeom prst="rect">
            <a:avLst/>
          </a:prstGeom>
          <a:noFill/>
        </p:spPr>
        <p:txBody>
          <a:bodyPr wrap="square" rtlCol="0">
            <a:spAutoFit/>
          </a:bodyPr>
          <a:lstStyle/>
          <a:p>
            <a:pPr algn="ctr"/>
            <a:r>
              <a:rPr lang="en-US" sz="4000" b="1" dirty="0">
                <a:solidFill>
                  <a:srgbClr val="3C7E7D"/>
                </a:solidFill>
              </a:rPr>
              <a:t>Questions?</a:t>
            </a:r>
          </a:p>
        </p:txBody>
      </p:sp>
      <p:sp>
        <p:nvSpPr>
          <p:cNvPr id="6" name="TextBox 5">
            <a:extLst>
              <a:ext uri="{FF2B5EF4-FFF2-40B4-BE49-F238E27FC236}">
                <a16:creationId xmlns:a16="http://schemas.microsoft.com/office/drawing/2014/main" id="{8CF3B0F2-8C60-A7CC-BE2C-B1A52485E986}"/>
              </a:ext>
            </a:extLst>
          </p:cNvPr>
          <p:cNvSpPr txBox="1"/>
          <p:nvPr/>
        </p:nvSpPr>
        <p:spPr>
          <a:xfrm>
            <a:off x="4488409" y="2049350"/>
            <a:ext cx="3405023" cy="1569660"/>
          </a:xfrm>
          <a:prstGeom prst="rect">
            <a:avLst/>
          </a:prstGeom>
          <a:noFill/>
        </p:spPr>
        <p:txBody>
          <a:bodyPr wrap="square" rtlCol="0">
            <a:spAutoFit/>
          </a:bodyPr>
          <a:lstStyle/>
          <a:p>
            <a:pPr algn="ctr"/>
            <a:r>
              <a:rPr lang="en-US" sz="2400" b="1" dirty="0">
                <a:solidFill>
                  <a:srgbClr val="3C7E7D"/>
                </a:solidFill>
              </a:rPr>
              <a:t>Cassie Carroll</a:t>
            </a:r>
          </a:p>
          <a:p>
            <a:pPr algn="ctr"/>
            <a:r>
              <a:rPr lang="en-US" sz="2400" b="1" dirty="0">
                <a:solidFill>
                  <a:srgbClr val="3C7E7D"/>
                </a:solidFill>
              </a:rPr>
              <a:t>SEDAC</a:t>
            </a:r>
          </a:p>
          <a:p>
            <a:pPr algn="ctr"/>
            <a:r>
              <a:rPr lang="en-US" sz="2400" b="1" dirty="0">
                <a:solidFill>
                  <a:srgbClr val="3C7E7D"/>
                </a:solidFill>
                <a:hlinkClick r:id="rId2"/>
              </a:rPr>
              <a:t>ccarrol2@illinois.edu</a:t>
            </a:r>
            <a:endParaRPr lang="en-US" sz="2400" b="1" dirty="0">
              <a:solidFill>
                <a:srgbClr val="3C7E7D"/>
              </a:solidFill>
            </a:endParaRPr>
          </a:p>
          <a:p>
            <a:pPr algn="ctr"/>
            <a:r>
              <a:rPr lang="en-US" sz="2400" b="1" dirty="0">
                <a:solidFill>
                  <a:srgbClr val="3C7E7D"/>
                </a:solidFill>
              </a:rPr>
              <a:t>217-300-6477</a:t>
            </a:r>
          </a:p>
        </p:txBody>
      </p:sp>
      <p:sp>
        <p:nvSpPr>
          <p:cNvPr id="8" name="TextBox 7">
            <a:extLst>
              <a:ext uri="{FF2B5EF4-FFF2-40B4-BE49-F238E27FC236}">
                <a16:creationId xmlns:a16="http://schemas.microsoft.com/office/drawing/2014/main" id="{9DDBCF52-897B-936F-04F3-4CAE4DAE30AC}"/>
              </a:ext>
            </a:extLst>
          </p:cNvPr>
          <p:cNvSpPr txBox="1"/>
          <p:nvPr/>
        </p:nvSpPr>
        <p:spPr>
          <a:xfrm>
            <a:off x="2790825" y="3944007"/>
            <a:ext cx="6800193" cy="461665"/>
          </a:xfrm>
          <a:prstGeom prst="rect">
            <a:avLst/>
          </a:prstGeom>
          <a:noFill/>
        </p:spPr>
        <p:txBody>
          <a:bodyPr wrap="square" rtlCol="0">
            <a:spAutoFit/>
          </a:bodyPr>
          <a:lstStyle/>
          <a:p>
            <a:pPr algn="ctr"/>
            <a:r>
              <a:rPr lang="en-US" sz="2400" b="1" dirty="0">
                <a:solidFill>
                  <a:srgbClr val="3C7E7D"/>
                </a:solidFill>
                <a:hlinkClick r:id="rId3"/>
              </a:rPr>
              <a:t>www.smartenergy.Illinois.edu/water</a:t>
            </a:r>
            <a:endParaRPr lang="en-US" sz="2400" b="1" dirty="0">
              <a:solidFill>
                <a:srgbClr val="3C7E7D"/>
              </a:solidFill>
            </a:endParaRPr>
          </a:p>
        </p:txBody>
      </p:sp>
    </p:spTree>
    <p:extLst>
      <p:ext uri="{BB962C8B-B14F-4D97-AF65-F5344CB8AC3E}">
        <p14:creationId xmlns:p14="http://schemas.microsoft.com/office/powerpoint/2010/main" val="3718518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1371600" y="1088571"/>
            <a:ext cx="9791700" cy="4969329"/>
          </a:xfrm>
          <a:prstGeom prst="rect">
            <a:avLst/>
          </a:prstGeom>
        </p:spPr>
        <p:txBody>
          <a:bodyPr/>
          <a:lstStyle/>
          <a:p>
            <a:r>
              <a:rPr lang="en-US" dirty="0">
                <a:latin typeface="Arial" panose="020B0604020202020204" pitchFamily="34" charset="0"/>
                <a:cs typeface="Arial" panose="020B0604020202020204" pitchFamily="34" charset="0"/>
              </a:rPr>
              <a:t>We are an applied research program at University of Illinois.</a:t>
            </a:r>
          </a:p>
          <a:p>
            <a:pPr marL="0" indent="0">
              <a:buNone/>
            </a:pPr>
            <a:r>
              <a:rPr lang="en-US" b="1" dirty="0">
                <a:latin typeface="Arial" panose="020B0604020202020204" pitchFamily="34" charset="0"/>
                <a:cs typeface="Arial" panose="020B0604020202020204" pitchFamily="34" charset="0"/>
              </a:rPr>
              <a:t>Our goal: Reduce the energy footprint of Illinois and beyond. </a:t>
            </a:r>
          </a:p>
          <a:p>
            <a:r>
              <a:rPr lang="en-US" dirty="0">
                <a:latin typeface="Arial" panose="020B0604020202020204" pitchFamily="34" charset="0"/>
                <a:cs typeface="Arial" panose="020B0604020202020204" pitchFamily="34" charset="0"/>
              </a:rPr>
              <a:t>We assist buildings and communities in achieving energy efficiency, saving money, and becoming more sustainable.</a:t>
            </a:r>
          </a:p>
          <a:p>
            <a:pPr marL="0" indent="0">
              <a:buNone/>
            </a:pPr>
            <a:endParaRPr lang="en-US" dirty="0">
              <a:latin typeface="Arial" panose="020B0604020202020204" pitchFamily="34" charset="0"/>
              <a:cs typeface="Arial" panose="020B0604020202020204" pitchFamily="34" charset="0"/>
            </a:endParaRPr>
          </a:p>
        </p:txBody>
      </p:sp>
      <p:sp>
        <p:nvSpPr>
          <p:cNvPr id="6" name="Text Placeholder 5"/>
          <p:cNvSpPr>
            <a:spLocks noGrp="1"/>
          </p:cNvSpPr>
          <p:nvPr>
            <p:ph type="body" sz="quarter" idx="10"/>
          </p:nvPr>
        </p:nvSpPr>
        <p:spPr>
          <a:prstGeom prst="rect">
            <a:avLst/>
          </a:prstGeom>
        </p:spPr>
        <p:txBody>
          <a:bodyPr/>
          <a:lstStyle/>
          <a:p>
            <a:r>
              <a:rPr lang="en-US" dirty="0">
                <a:latin typeface="Arial" panose="020B0604020202020204" pitchFamily="34" charset="0"/>
              </a:rPr>
              <a:t>Who We </a:t>
            </a:r>
            <a:r>
              <a:rPr lang="en-US" dirty="0"/>
              <a:t>A</a:t>
            </a:r>
            <a:r>
              <a:rPr lang="en-US" dirty="0">
                <a:latin typeface="Arial" panose="020B0604020202020204" pitchFamily="34" charset="0"/>
              </a:rPr>
              <a:t>re</a:t>
            </a:r>
          </a:p>
        </p:txBody>
      </p:sp>
      <p:pic>
        <p:nvPicPr>
          <p:cNvPr id="9" name="Picture Placeholder 8"/>
          <p:cNvPicPr>
            <a:picLocks noGrp="1" noChangeAspect="1"/>
          </p:cNvPicPr>
          <p:nvPr>
            <p:ph type="pic" sz="quarter" idx="4294967295"/>
          </p:nvPr>
        </p:nvPicPr>
        <p:blipFill>
          <a:blip r:embed="rId2" cstate="print">
            <a:extLst>
              <a:ext uri="{28A0092B-C50C-407E-A947-70E740481C1C}">
                <a14:useLocalDpi xmlns:a14="http://schemas.microsoft.com/office/drawing/2010/main" val="0"/>
              </a:ext>
            </a:extLst>
          </a:blip>
          <a:srcRect l="1036" r="1036"/>
          <a:stretch>
            <a:fillRect/>
          </a:stretch>
        </p:blipFill>
        <p:spPr>
          <a:xfrm>
            <a:off x="2890242" y="3471862"/>
            <a:ext cx="6078538" cy="2586038"/>
          </a:xfrm>
          <a:prstGeom prst="rect">
            <a:avLst/>
          </a:prstGeom>
        </p:spPr>
      </p:pic>
    </p:spTree>
    <p:extLst>
      <p:ext uri="{BB962C8B-B14F-4D97-AF65-F5344CB8AC3E}">
        <p14:creationId xmlns:p14="http://schemas.microsoft.com/office/powerpoint/2010/main" val="2326680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arrying models with experiments to build more efficient solar cells | Penn  Today">
            <a:extLst>
              <a:ext uri="{FF2B5EF4-FFF2-40B4-BE49-F238E27FC236}">
                <a16:creationId xmlns:a16="http://schemas.microsoft.com/office/drawing/2014/main" id="{285A78F4-838B-9020-8849-988105549DD6}"/>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t="4914" b="14546"/>
          <a:stretch/>
        </p:blipFill>
        <p:spPr bwMode="auto">
          <a:xfrm>
            <a:off x="-26125" y="2514600"/>
            <a:ext cx="12218125" cy="43434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753765" y="1931096"/>
            <a:ext cx="8684469" cy="830997"/>
          </a:xfrm>
          <a:prstGeom prst="rect">
            <a:avLst/>
          </a:prstGeom>
        </p:spPr>
        <p:txBody>
          <a:bodyPr wrap="square">
            <a:spAutoFit/>
          </a:bodyPr>
          <a:lstStyle/>
          <a:p>
            <a:pPr defTabSz="1219170">
              <a:defRPr/>
            </a:pPr>
            <a:r>
              <a:rPr lang="en-US" sz="2400" b="1" dirty="0">
                <a:solidFill>
                  <a:schemeClr val="accent1">
                    <a:lumMod val="75000"/>
                  </a:schemeClr>
                </a:solidFill>
                <a:latin typeface="Arial" panose="020B0604020202020204" pitchFamily="34" charset="0"/>
                <a:cs typeface="Arial" panose="020B0604020202020204" pitchFamily="34" charset="0"/>
              </a:rPr>
              <a:t>Mission: </a:t>
            </a:r>
            <a:r>
              <a:rPr lang="en-US" sz="2400" dirty="0">
                <a:solidFill>
                  <a:schemeClr val="accent1">
                    <a:lumMod val="75000"/>
                  </a:schemeClr>
                </a:solidFill>
                <a:latin typeface="Arial" panose="020B0604020202020204" pitchFamily="34" charset="0"/>
                <a:cs typeface="Arial" panose="020B0604020202020204" pitchFamily="34" charset="0"/>
              </a:rPr>
              <a:t>Decrease the energy footprint of Illinois and beyond.</a:t>
            </a:r>
          </a:p>
          <a:p>
            <a:pPr defTabSz="1219170">
              <a:defRPr/>
            </a:pPr>
            <a:endParaRPr lang="en-US" sz="2400" b="1" dirty="0">
              <a:solidFill>
                <a:schemeClr val="accent1">
                  <a:lumMod val="75000"/>
                </a:schemeClr>
              </a:solidFill>
              <a:latin typeface="Arial" panose="020B0604020202020204" pitchFamily="34" charset="0"/>
              <a:cs typeface="Arial" panose="020B0604020202020204" pitchFamily="34" charset="0"/>
            </a:endParaRPr>
          </a:p>
        </p:txBody>
      </p:sp>
      <p:sp>
        <p:nvSpPr>
          <p:cNvPr id="3" name="Rectangle 2"/>
          <p:cNvSpPr/>
          <p:nvPr/>
        </p:nvSpPr>
        <p:spPr>
          <a:xfrm>
            <a:off x="711200" y="3221191"/>
            <a:ext cx="10769600" cy="727892"/>
          </a:xfrm>
          <a:prstGeom prst="rect">
            <a:avLst/>
          </a:prstGeom>
        </p:spPr>
        <p:txBody>
          <a:bodyPr wrap="square">
            <a:spAutoFit/>
          </a:bodyPr>
          <a:lstStyle/>
          <a:p>
            <a:pPr defTabSz="1219170">
              <a:lnSpc>
                <a:spcPct val="150000"/>
              </a:lnSpc>
              <a:defRPr/>
            </a:pPr>
            <a:endParaRPr lang="en-US" sz="1467">
              <a:solidFill>
                <a:srgbClr val="1A75BC"/>
              </a:solidFill>
              <a:latin typeface="Arial" panose="020B0604020202020204" pitchFamily="34" charset="0"/>
              <a:cs typeface="Arial" panose="020B0604020202020204" pitchFamily="34" charset="0"/>
            </a:endParaRPr>
          </a:p>
          <a:p>
            <a:pPr defTabSz="1219170">
              <a:lnSpc>
                <a:spcPct val="150000"/>
              </a:lnSpc>
              <a:defRPr/>
            </a:pPr>
            <a:endParaRPr lang="en-US" sz="1467" dirty="0">
              <a:solidFill>
                <a:srgbClr val="1A75BC"/>
              </a:solidFill>
              <a:latin typeface="Arial" panose="020B0604020202020204" pitchFamily="34" charset="0"/>
              <a:cs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C9F0E648-BC0E-4213-9ED8-7AE330E05A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5737" y="370165"/>
            <a:ext cx="5994400" cy="1352968"/>
          </a:xfrm>
          <a:prstGeom prst="rect">
            <a:avLst/>
          </a:prstGeom>
        </p:spPr>
      </p:pic>
      <p:pic>
        <p:nvPicPr>
          <p:cNvPr id="7" name="Picture 6">
            <a:extLst>
              <a:ext uri="{FF2B5EF4-FFF2-40B4-BE49-F238E27FC236}">
                <a16:creationId xmlns:a16="http://schemas.microsoft.com/office/drawing/2014/main" id="{15E4E91A-F989-58A1-3C8D-2583FE1549A2}"/>
              </a:ext>
            </a:extLst>
          </p:cNvPr>
          <p:cNvPicPr>
            <a:picLocks noChangeAspect="1"/>
          </p:cNvPicPr>
          <p:nvPr/>
        </p:nvPicPr>
        <p:blipFill>
          <a:blip r:embed="rId5"/>
          <a:stretch>
            <a:fillRect/>
          </a:stretch>
        </p:blipFill>
        <p:spPr>
          <a:xfrm>
            <a:off x="2013413" y="2624267"/>
            <a:ext cx="8139048" cy="4233733"/>
          </a:xfrm>
          <a:prstGeom prst="rect">
            <a:avLst/>
          </a:prstGeom>
        </p:spPr>
      </p:pic>
    </p:spTree>
    <p:extLst>
      <p:ext uri="{BB962C8B-B14F-4D97-AF65-F5344CB8AC3E}">
        <p14:creationId xmlns:p14="http://schemas.microsoft.com/office/powerpoint/2010/main" val="1172406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7684DB-686F-406B-906F-08E75A6D74CA}"/>
              </a:ext>
            </a:extLst>
          </p:cNvPr>
          <p:cNvSpPr>
            <a:spLocks noGrp="1"/>
          </p:cNvSpPr>
          <p:nvPr>
            <p:ph type="body" sz="quarter" idx="11"/>
          </p:nvPr>
        </p:nvSpPr>
        <p:spPr>
          <a:xfrm>
            <a:off x="639083" y="991920"/>
            <a:ext cx="10741269" cy="1091034"/>
          </a:xfrm>
        </p:spPr>
        <p:txBody>
          <a:bodyPr/>
          <a:lstStyle/>
          <a:p>
            <a:pPr marL="0" indent="0">
              <a:buNone/>
            </a:pPr>
            <a:r>
              <a:rPr lang="en-US" dirty="0">
                <a:solidFill>
                  <a:schemeClr val="bg1">
                    <a:lumMod val="50000"/>
                  </a:schemeClr>
                </a:solidFill>
              </a:rPr>
              <a:t>The Illinois EPA Public Water Infrastructure Energy Assessment Program helps municipalities reduce the cost of water and wastewater treatment.</a:t>
            </a:r>
          </a:p>
          <a:p>
            <a:pPr marL="0" indent="0">
              <a:buNone/>
            </a:pPr>
            <a:endParaRPr lang="en-US" dirty="0"/>
          </a:p>
        </p:txBody>
      </p:sp>
      <p:sp>
        <p:nvSpPr>
          <p:cNvPr id="2" name="Text Placeholder 1">
            <a:extLst>
              <a:ext uri="{FF2B5EF4-FFF2-40B4-BE49-F238E27FC236}">
                <a16:creationId xmlns:a16="http://schemas.microsoft.com/office/drawing/2014/main" id="{E6A511E6-66C0-4485-A3D7-93C3926CEE37}"/>
              </a:ext>
            </a:extLst>
          </p:cNvPr>
          <p:cNvSpPr>
            <a:spLocks noGrp="1"/>
          </p:cNvSpPr>
          <p:nvPr>
            <p:ph type="body" sz="quarter" idx="10"/>
          </p:nvPr>
        </p:nvSpPr>
        <p:spPr>
          <a:xfrm>
            <a:off x="639083" y="264138"/>
            <a:ext cx="10952285" cy="593710"/>
          </a:xfrm>
        </p:spPr>
        <p:txBody>
          <a:bodyPr/>
          <a:lstStyle/>
          <a:p>
            <a:r>
              <a:rPr lang="en-US" dirty="0"/>
              <a:t>About the IEPA PWI Energy Efficiency Program</a:t>
            </a:r>
          </a:p>
        </p:txBody>
      </p:sp>
      <p:sp>
        <p:nvSpPr>
          <p:cNvPr id="4" name="TextBox 3">
            <a:extLst>
              <a:ext uri="{FF2B5EF4-FFF2-40B4-BE49-F238E27FC236}">
                <a16:creationId xmlns:a16="http://schemas.microsoft.com/office/drawing/2014/main" id="{D4F39DBF-4952-4C43-A692-AE71F1407C81}"/>
              </a:ext>
            </a:extLst>
          </p:cNvPr>
          <p:cNvSpPr txBox="1"/>
          <p:nvPr/>
        </p:nvSpPr>
        <p:spPr>
          <a:xfrm>
            <a:off x="1409942" y="2423175"/>
            <a:ext cx="5706080" cy="3539430"/>
          </a:xfrm>
          <a:prstGeom prst="rect">
            <a:avLst/>
          </a:prstGeom>
          <a:noFill/>
        </p:spPr>
        <p:txBody>
          <a:bodyPr wrap="square" lIns="91440" tIns="45720" rIns="91440" bIns="45720" rtlCol="0" anchor="t">
            <a:spAutoFit/>
          </a:bodyPr>
          <a:lstStyle/>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NO-COST energy assessments and technical assistance</a:t>
            </a:r>
          </a:p>
          <a:p>
            <a:pPr marL="800100" lvl="1" indent="-342900">
              <a:buFont typeface="Wingdings" panose="05000000000000000000" pitchFamily="2" charset="2"/>
              <a:buChar char="Ø"/>
              <a:defRPr/>
            </a:pPr>
            <a:r>
              <a:rPr lang="en-US" sz="2000" dirty="0">
                <a:solidFill>
                  <a:srgbClr val="344040">
                    <a:lumMod val="50000"/>
                  </a:srgbClr>
                </a:solidFill>
                <a:latin typeface="Arial" panose="020B0604020202020204" pitchFamily="34" charset="0"/>
                <a:cs typeface="Arial" panose="020B0604020202020204" pitchFamily="34" charset="0"/>
              </a:rPr>
              <a:t>Limited number of slots remaining!</a:t>
            </a:r>
            <a:endPar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Comprehensive report listing: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Cost of upgrade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Estimated payback period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Any applicable incentives or funding opportunitie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rPr>
              <a:t>Operator continuing education events</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endParaRPr>
          </a:p>
          <a:p>
            <a:pPr marR="0" lvl="1" algn="l" defTabSz="4572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dirty="0">
              <a:ln>
                <a:noFill/>
              </a:ln>
              <a:solidFill>
                <a:srgbClr val="344040">
                  <a:lumMod val="50000"/>
                </a:srgb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27A1724C-4B33-473B-81D8-F994A52B2B1B}"/>
              </a:ext>
            </a:extLst>
          </p:cNvPr>
          <p:cNvSpPr txBox="1"/>
          <p:nvPr/>
        </p:nvSpPr>
        <p:spPr>
          <a:xfrm>
            <a:off x="1409942" y="6028563"/>
            <a:ext cx="606474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44040"/>
                </a:solidFill>
                <a:effectLst/>
                <a:uLnTx/>
                <a:uFillTx/>
                <a:latin typeface="Calibri" panose="020F0502020204030204"/>
                <a:ea typeface="+mn-lt"/>
                <a:cs typeface="Calibri" panose="020F0502020204030204"/>
              </a:rPr>
              <a:t>Funding provided in whole or in part by the Illinois EPA Office of Energy. This program is in partnership with the U.S. Dept. of Energy Sustainable Wastewater Infrastructure of the Future (SWIFT) Accelerator for energy efficiency in wastewater treatment.</a:t>
            </a:r>
            <a:endParaRPr kumimoji="0" lang="en-US" sz="1200" b="0" i="0" u="none" strike="noStrike" kern="1200" cap="none" spc="0" normalizeH="0" baseline="0" noProof="0" dirty="0">
              <a:ln>
                <a:noFill/>
              </a:ln>
              <a:solidFill>
                <a:srgbClr val="344040"/>
              </a:solidFill>
              <a:effectLst/>
              <a:uLnTx/>
              <a:uFillTx/>
              <a:latin typeface="Calibri" panose="020F0502020204030204"/>
              <a:ea typeface="+mn-ea"/>
              <a:cs typeface="Calibri"/>
            </a:endParaRPr>
          </a:p>
        </p:txBody>
      </p:sp>
      <p:pic>
        <p:nvPicPr>
          <p:cNvPr id="7" name="Picture 16" descr="A close up of a sign&#10;&#10;Description automatically generated">
            <a:extLst>
              <a:ext uri="{FF2B5EF4-FFF2-40B4-BE49-F238E27FC236}">
                <a16:creationId xmlns:a16="http://schemas.microsoft.com/office/drawing/2014/main" id="{A4ED76A1-DED0-4528-8649-DAA108A61482}"/>
              </a:ext>
            </a:extLst>
          </p:cNvPr>
          <p:cNvPicPr>
            <a:picLocks noChangeAspect="1"/>
          </p:cNvPicPr>
          <p:nvPr/>
        </p:nvPicPr>
        <p:blipFill>
          <a:blip r:embed="rId3"/>
          <a:stretch>
            <a:fillRect/>
          </a:stretch>
        </p:blipFill>
        <p:spPr>
          <a:xfrm>
            <a:off x="5859262" y="6488301"/>
            <a:ext cx="2370338" cy="306090"/>
          </a:xfrm>
          <a:prstGeom prst="rect">
            <a:avLst/>
          </a:prstGeom>
        </p:spPr>
      </p:pic>
      <p:pic>
        <p:nvPicPr>
          <p:cNvPr id="8" name="Picture 7">
            <a:extLst>
              <a:ext uri="{FF2B5EF4-FFF2-40B4-BE49-F238E27FC236}">
                <a16:creationId xmlns:a16="http://schemas.microsoft.com/office/drawing/2014/main" id="{5D0611E6-3797-4DDA-AE98-2DA2AA0D33F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116022" y="2250213"/>
            <a:ext cx="4557756" cy="3418317"/>
          </a:xfrm>
          <a:prstGeom prst="rect">
            <a:avLst/>
          </a:prstGeom>
        </p:spPr>
      </p:pic>
    </p:spTree>
    <p:extLst>
      <p:ext uri="{BB962C8B-B14F-4D97-AF65-F5344CB8AC3E}">
        <p14:creationId xmlns:p14="http://schemas.microsoft.com/office/powerpoint/2010/main" val="3940502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8E2012-77D0-4A53-AAFB-BF80A64F048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1CEC4FD3-5CCD-4F50-BCBB-DDC5AD3534A6}"/>
              </a:ext>
            </a:extLst>
          </p:cNvPr>
          <p:cNvSpPr>
            <a:spLocks noGrp="1"/>
          </p:cNvSpPr>
          <p:nvPr>
            <p:ph type="body" sz="quarter" idx="10"/>
          </p:nvPr>
        </p:nvSpPr>
        <p:spPr/>
        <p:txBody>
          <a:bodyPr/>
          <a:lstStyle/>
          <a:p>
            <a:r>
              <a:rPr lang="en-US" dirty="0"/>
              <a:t>Why Complete an Energy Assessment?</a:t>
            </a:r>
          </a:p>
        </p:txBody>
      </p:sp>
      <p:sp>
        <p:nvSpPr>
          <p:cNvPr id="5" name="TextBox 4">
            <a:extLst>
              <a:ext uri="{FF2B5EF4-FFF2-40B4-BE49-F238E27FC236}">
                <a16:creationId xmlns:a16="http://schemas.microsoft.com/office/drawing/2014/main" id="{ACC5606A-C60C-48D9-889E-63A41536D25D}"/>
              </a:ext>
            </a:extLst>
          </p:cNvPr>
          <p:cNvSpPr txBox="1"/>
          <p:nvPr/>
        </p:nvSpPr>
        <p:spPr>
          <a:xfrm>
            <a:off x="811764" y="5346412"/>
            <a:ext cx="10384970" cy="107721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Calibri" panose="020F0502020204030204"/>
                <a:ea typeface="+mn-ea"/>
                <a:cs typeface="+mn-cs"/>
              </a:rPr>
              <a:t>Identify opportunities for repairs or upgrades and associated funding!</a:t>
            </a:r>
          </a:p>
        </p:txBody>
      </p:sp>
      <p:sp>
        <p:nvSpPr>
          <p:cNvPr id="6" name="Text Placeholder 5">
            <a:extLst>
              <a:ext uri="{FF2B5EF4-FFF2-40B4-BE49-F238E27FC236}">
                <a16:creationId xmlns:a16="http://schemas.microsoft.com/office/drawing/2014/main" id="{BEFC8E35-4044-446E-9779-EAFA7757C837}"/>
              </a:ext>
            </a:extLst>
          </p:cNvPr>
          <p:cNvSpPr txBox="1">
            <a:spLocks/>
          </p:cNvSpPr>
          <p:nvPr/>
        </p:nvSpPr>
        <p:spPr>
          <a:xfrm>
            <a:off x="811763" y="1219200"/>
            <a:ext cx="5001208" cy="3835717"/>
          </a:xfrm>
          <a:prstGeom prst="roundRect">
            <a:avLst/>
          </a:prstGeom>
          <a:solidFill>
            <a:schemeClr val="bg2"/>
          </a:solidFill>
          <a:ln>
            <a:noFill/>
          </a:ln>
          <a:effectLst>
            <a:outerShdw blurRad="57150" dist="19050" dir="5400000" algn="ctr" rotWithShape="0">
              <a:srgbClr val="000000">
                <a:alpha val="63000"/>
              </a:srgbClr>
            </a:outerShdw>
          </a:effectLst>
        </p:spPr>
        <p:txBody>
          <a:bodyPr/>
          <a:lstStyle>
            <a:lvl1pPr marL="0" indent="0" algn="l" defTabSz="914400" rtl="0" eaLnBrk="1" latinLnBrk="0" hangingPunct="1">
              <a:lnSpc>
                <a:spcPct val="90000"/>
              </a:lnSpc>
              <a:spcBef>
                <a:spcPts val="1800"/>
              </a:spcBef>
              <a:buFont typeface="Arial" panose="020B0604020202020204" pitchFamily="34" charset="0"/>
              <a:buNone/>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lder Existing System or No Previous Assessments?</a:t>
            </a:r>
          </a:p>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ntify missed opportunities</a:t>
            </a:r>
          </a:p>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n for capital improvements</a:t>
            </a:r>
          </a:p>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ncover what is possible</a:t>
            </a:r>
          </a:p>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a:t>
            </a:r>
            <a:r>
              <a:rPr kumimoji="0" lang="en-US" sz="2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rd</a:t>
            </a:r>
            <a:r>
              <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arty support for personnel’s ideas</a:t>
            </a:r>
          </a:p>
        </p:txBody>
      </p:sp>
      <p:sp>
        <p:nvSpPr>
          <p:cNvPr id="7" name="Text Placeholder 5">
            <a:extLst>
              <a:ext uri="{FF2B5EF4-FFF2-40B4-BE49-F238E27FC236}">
                <a16:creationId xmlns:a16="http://schemas.microsoft.com/office/drawing/2014/main" id="{57ABB43F-34C0-4162-B32A-C601EC54AC5E}"/>
              </a:ext>
            </a:extLst>
          </p:cNvPr>
          <p:cNvSpPr txBox="1">
            <a:spLocks/>
          </p:cNvSpPr>
          <p:nvPr/>
        </p:nvSpPr>
        <p:spPr>
          <a:xfrm>
            <a:off x="6150430" y="1360714"/>
            <a:ext cx="5100734" cy="3694203"/>
          </a:xfrm>
          <a:prstGeom prst="rect">
            <a:avLst/>
          </a:prstGeom>
        </p:spPr>
        <p:txBody>
          <a:bodyPr/>
          <a:lstStyle>
            <a:lvl1pPr marL="228600" indent="-228600" algn="l" defTabSz="914400" rtl="0" eaLnBrk="1" latinLnBrk="0" hangingPunct="1">
              <a:lnSpc>
                <a:spcPct val="100000"/>
              </a:lnSpc>
              <a:spcBef>
                <a:spcPts val="1200"/>
              </a:spcBef>
              <a:buFont typeface="Arial" panose="020B0604020202020204" pitchFamily="34" charset="0"/>
              <a:buChar char="•"/>
              <a:defRPr sz="26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srgbClr val="344040"/>
                </a:solidFill>
                <a:effectLst/>
                <a:uLnTx/>
                <a:uFillTx/>
                <a:latin typeface="Arial" panose="020B0604020202020204" pitchFamily="34" charset="0"/>
                <a:ea typeface="+mn-ea"/>
                <a:cs typeface="Arial" panose="020B0604020202020204" pitchFamily="34" charset="0"/>
              </a:rPr>
              <a:t>New or Recently Upgraded?</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344040"/>
                </a:solidFill>
                <a:effectLst/>
                <a:uLnTx/>
                <a:uFillTx/>
                <a:latin typeface="Arial" panose="020B0604020202020204" pitchFamily="34" charset="0"/>
                <a:ea typeface="+mn-ea"/>
                <a:cs typeface="Arial" panose="020B0604020202020204" pitchFamily="34" charset="0"/>
              </a:rPr>
              <a:t>Always more to improve</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344040"/>
                </a:solidFill>
                <a:effectLst/>
                <a:uLnTx/>
                <a:uFillTx/>
                <a:latin typeface="Arial" panose="020B0604020202020204" pitchFamily="34" charset="0"/>
                <a:ea typeface="+mn-ea"/>
                <a:cs typeface="Arial" panose="020B0604020202020204" pitchFamily="34" charset="0"/>
              </a:rPr>
              <a:t>Plan for future opportunities outside the scope of recent projects</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344040"/>
                </a:solidFill>
                <a:effectLst/>
                <a:uLnTx/>
                <a:uFillTx/>
                <a:latin typeface="Arial" panose="020B0604020202020204" pitchFamily="34" charset="0"/>
                <a:ea typeface="+mn-ea"/>
                <a:cs typeface="Arial" panose="020B0604020202020204" pitchFamily="34" charset="0"/>
              </a:rPr>
              <a:t>New technologies and processes always in development</a:t>
            </a:r>
          </a:p>
        </p:txBody>
      </p:sp>
    </p:spTree>
    <p:extLst>
      <p:ext uri="{BB962C8B-B14F-4D97-AF65-F5344CB8AC3E}">
        <p14:creationId xmlns:p14="http://schemas.microsoft.com/office/powerpoint/2010/main" val="1116354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B3A424-511B-490F-8491-EE03FE206232}"/>
              </a:ext>
            </a:extLst>
          </p:cNvPr>
          <p:cNvSpPr>
            <a:spLocks noGrp="1"/>
          </p:cNvSpPr>
          <p:nvPr>
            <p:ph type="body" sz="quarter" idx="11"/>
          </p:nvPr>
        </p:nvSpPr>
        <p:spPr>
          <a:xfrm>
            <a:off x="1371600" y="1219200"/>
            <a:ext cx="8069580" cy="4838700"/>
          </a:xfrm>
        </p:spPr>
        <p:txBody>
          <a:bodyPr/>
          <a:lstStyle/>
          <a:p>
            <a:pPr marL="0" indent="0">
              <a:buNone/>
            </a:pPr>
            <a:r>
              <a:rPr lang="en-US" b="1" dirty="0"/>
              <a:t>Step 1: Initial Application – Pre-Qualification</a:t>
            </a:r>
          </a:p>
          <a:p>
            <a:pPr lvl="1"/>
            <a:r>
              <a:rPr lang="en-US" dirty="0"/>
              <a:t>Apply at </a:t>
            </a:r>
            <a:r>
              <a:rPr lang="en-US" dirty="0">
                <a:hlinkClick r:id="rId2"/>
              </a:rPr>
              <a:t>www.smartenergy.illinois.edu/water</a:t>
            </a:r>
            <a:endParaRPr lang="en-US" dirty="0"/>
          </a:p>
          <a:p>
            <a:pPr lvl="2"/>
            <a:r>
              <a:rPr lang="en-US" dirty="0"/>
              <a:t>Be located in Illinois and be publicly-owned</a:t>
            </a:r>
          </a:p>
          <a:p>
            <a:pPr lvl="2"/>
            <a:r>
              <a:rPr lang="en-US" dirty="0"/>
              <a:t>Allow SEDAC/ISTC to visit site – remote visit is an option!</a:t>
            </a:r>
          </a:p>
          <a:p>
            <a:pPr lvl="2"/>
            <a:r>
              <a:rPr lang="en-US" dirty="0"/>
              <a:t>Be willing to share facility information</a:t>
            </a:r>
          </a:p>
          <a:p>
            <a:pPr lvl="2"/>
            <a:r>
              <a:rPr lang="en-US" dirty="0"/>
              <a:t>Share final assessment report with Illinois EPA Energy Office</a:t>
            </a:r>
          </a:p>
          <a:p>
            <a:pPr marL="0" indent="0">
              <a:buNone/>
            </a:pPr>
            <a:r>
              <a:rPr lang="en-US" b="1" dirty="0"/>
              <a:t>Step 2: Data Collection </a:t>
            </a:r>
          </a:p>
          <a:p>
            <a:pPr lvl="1"/>
            <a:r>
              <a:rPr lang="en-US" dirty="0"/>
              <a:t>Facility information –Process flow diagram, types of processes, </a:t>
            </a:r>
            <a:r>
              <a:rPr lang="en-US" dirty="0" err="1"/>
              <a:t>etc</a:t>
            </a:r>
            <a:r>
              <a:rPr lang="en-US" dirty="0"/>
              <a:t>…</a:t>
            </a:r>
          </a:p>
          <a:p>
            <a:pPr lvl="1"/>
            <a:r>
              <a:rPr lang="en-US" dirty="0"/>
              <a:t>2 years of utility bills and MORs</a:t>
            </a:r>
          </a:p>
          <a:p>
            <a:pPr lvl="1"/>
            <a:r>
              <a:rPr lang="en-US" dirty="0"/>
              <a:t>We’re here to assist! </a:t>
            </a:r>
          </a:p>
          <a:p>
            <a:pPr marL="0" indent="0">
              <a:buNone/>
            </a:pPr>
            <a:r>
              <a:rPr lang="en-US" b="1" dirty="0"/>
              <a:t>Step 3: Site Visit Scheduled</a:t>
            </a:r>
          </a:p>
          <a:p>
            <a:endParaRPr lang="en-US" dirty="0"/>
          </a:p>
        </p:txBody>
      </p:sp>
      <p:sp>
        <p:nvSpPr>
          <p:cNvPr id="3" name="Text Placeholder 2">
            <a:extLst>
              <a:ext uri="{FF2B5EF4-FFF2-40B4-BE49-F238E27FC236}">
                <a16:creationId xmlns:a16="http://schemas.microsoft.com/office/drawing/2014/main" id="{E20F4D2B-CF60-4E31-B8DA-9BC3E5CB294C}"/>
              </a:ext>
            </a:extLst>
          </p:cNvPr>
          <p:cNvSpPr>
            <a:spLocks noGrp="1"/>
          </p:cNvSpPr>
          <p:nvPr>
            <p:ph type="body" sz="quarter" idx="10"/>
          </p:nvPr>
        </p:nvSpPr>
        <p:spPr/>
        <p:txBody>
          <a:bodyPr/>
          <a:lstStyle/>
          <a:p>
            <a:r>
              <a:rPr lang="en-US" dirty="0"/>
              <a:t>Apply for an Energy Assessment!</a:t>
            </a:r>
          </a:p>
        </p:txBody>
      </p:sp>
      <p:pic>
        <p:nvPicPr>
          <p:cNvPr id="7" name="Picture 6" descr="A picture containing person, indoor, kitchen, standing&#10;&#10;Description automatically generated">
            <a:extLst>
              <a:ext uri="{FF2B5EF4-FFF2-40B4-BE49-F238E27FC236}">
                <a16:creationId xmlns:a16="http://schemas.microsoft.com/office/drawing/2014/main" id="{8B8F8318-4F05-41A3-B104-62CF4169C73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782"/>
          <a:stretch/>
        </p:blipFill>
        <p:spPr>
          <a:xfrm>
            <a:off x="9310255" y="1891146"/>
            <a:ext cx="2703199" cy="3543299"/>
          </a:xfrm>
          <a:prstGeom prst="rect">
            <a:avLst/>
          </a:prstGeom>
        </p:spPr>
      </p:pic>
    </p:spTree>
    <p:extLst>
      <p:ext uri="{BB962C8B-B14F-4D97-AF65-F5344CB8AC3E}">
        <p14:creationId xmlns:p14="http://schemas.microsoft.com/office/powerpoint/2010/main" val="756804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D6833B-C809-2552-95A2-D7C474A2B32F}"/>
              </a:ext>
            </a:extLst>
          </p:cNvPr>
          <p:cNvPicPr>
            <a:picLocks noChangeAspect="1"/>
          </p:cNvPicPr>
          <p:nvPr/>
        </p:nvPicPr>
        <p:blipFill rotWithShape="1">
          <a:blip r:embed="rId2">
            <a:alphaModFix amt="35000"/>
          </a:blip>
          <a:srcRect t="24134" b="4287"/>
          <a:stretch/>
        </p:blipFill>
        <p:spPr>
          <a:xfrm>
            <a:off x="14409" y="832061"/>
            <a:ext cx="12177591" cy="6025939"/>
          </a:xfrm>
          <a:prstGeom prst="rect">
            <a:avLst/>
          </a:prstGeom>
        </p:spPr>
      </p:pic>
      <p:sp>
        <p:nvSpPr>
          <p:cNvPr id="2" name="Content Placeholder 1">
            <a:extLst>
              <a:ext uri="{FF2B5EF4-FFF2-40B4-BE49-F238E27FC236}">
                <a16:creationId xmlns:a16="http://schemas.microsoft.com/office/drawing/2014/main" id="{95B3A424-511B-490F-8491-EE03FE206232}"/>
              </a:ext>
            </a:extLst>
          </p:cNvPr>
          <p:cNvSpPr>
            <a:spLocks noGrp="1"/>
          </p:cNvSpPr>
          <p:nvPr>
            <p:ph type="body" sz="quarter" idx="11"/>
          </p:nvPr>
        </p:nvSpPr>
        <p:spPr>
          <a:xfrm>
            <a:off x="1371599" y="1219200"/>
            <a:ext cx="8135815" cy="668443"/>
          </a:xfrm>
        </p:spPr>
        <p:txBody>
          <a:bodyPr/>
          <a:lstStyle/>
          <a:p>
            <a:pPr marL="0" indent="0">
              <a:buNone/>
            </a:pPr>
            <a:r>
              <a:rPr lang="en-US" b="1" dirty="0"/>
              <a:t>Village of Heyworth WTP</a:t>
            </a:r>
          </a:p>
        </p:txBody>
      </p:sp>
      <p:sp>
        <p:nvSpPr>
          <p:cNvPr id="3" name="Text Placeholder 2">
            <a:extLst>
              <a:ext uri="{FF2B5EF4-FFF2-40B4-BE49-F238E27FC236}">
                <a16:creationId xmlns:a16="http://schemas.microsoft.com/office/drawing/2014/main" id="{E20F4D2B-CF60-4E31-B8DA-9BC3E5CB294C}"/>
              </a:ext>
            </a:extLst>
          </p:cNvPr>
          <p:cNvSpPr>
            <a:spLocks noGrp="1"/>
          </p:cNvSpPr>
          <p:nvPr>
            <p:ph type="body" sz="quarter" idx="10"/>
          </p:nvPr>
        </p:nvSpPr>
        <p:spPr/>
        <p:txBody>
          <a:bodyPr/>
          <a:lstStyle/>
          <a:p>
            <a:r>
              <a:rPr lang="en-US" dirty="0"/>
              <a:t>Case Examples</a:t>
            </a:r>
          </a:p>
        </p:txBody>
      </p:sp>
      <p:pic>
        <p:nvPicPr>
          <p:cNvPr id="5" name="Picture 4">
            <a:extLst>
              <a:ext uri="{FF2B5EF4-FFF2-40B4-BE49-F238E27FC236}">
                <a16:creationId xmlns:a16="http://schemas.microsoft.com/office/drawing/2014/main" id="{9AD55495-96FA-44B1-BE05-01B6D068FD11}"/>
              </a:ext>
            </a:extLst>
          </p:cNvPr>
          <p:cNvPicPr>
            <a:picLocks noChangeAspect="1"/>
          </p:cNvPicPr>
          <p:nvPr/>
        </p:nvPicPr>
        <p:blipFill>
          <a:blip r:embed="rId3"/>
          <a:stretch>
            <a:fillRect/>
          </a:stretch>
        </p:blipFill>
        <p:spPr>
          <a:xfrm>
            <a:off x="2227384" y="1887643"/>
            <a:ext cx="7946840" cy="2365131"/>
          </a:xfrm>
          <a:prstGeom prst="rect">
            <a:avLst/>
          </a:prstGeom>
        </p:spPr>
      </p:pic>
      <p:pic>
        <p:nvPicPr>
          <p:cNvPr id="8" name="Picture 7">
            <a:extLst>
              <a:ext uri="{FF2B5EF4-FFF2-40B4-BE49-F238E27FC236}">
                <a16:creationId xmlns:a16="http://schemas.microsoft.com/office/drawing/2014/main" id="{C8288828-32EA-0C14-EB7C-F6FEB98427D5}"/>
              </a:ext>
            </a:extLst>
          </p:cNvPr>
          <p:cNvPicPr>
            <a:picLocks noChangeAspect="1"/>
          </p:cNvPicPr>
          <p:nvPr/>
        </p:nvPicPr>
        <p:blipFill>
          <a:blip r:embed="rId4"/>
          <a:stretch>
            <a:fillRect/>
          </a:stretch>
        </p:blipFill>
        <p:spPr>
          <a:xfrm>
            <a:off x="1444987" y="4450425"/>
            <a:ext cx="9644925" cy="824229"/>
          </a:xfrm>
          <a:prstGeom prst="rect">
            <a:avLst/>
          </a:prstGeom>
        </p:spPr>
      </p:pic>
      <p:sp>
        <p:nvSpPr>
          <p:cNvPr id="9" name="Content Placeholder 1">
            <a:extLst>
              <a:ext uri="{FF2B5EF4-FFF2-40B4-BE49-F238E27FC236}">
                <a16:creationId xmlns:a16="http://schemas.microsoft.com/office/drawing/2014/main" id="{3ABE7130-5C63-C3C6-2873-14E9A42ED3A0}"/>
              </a:ext>
            </a:extLst>
          </p:cNvPr>
          <p:cNvSpPr txBox="1">
            <a:spLocks/>
          </p:cNvSpPr>
          <p:nvPr/>
        </p:nvSpPr>
        <p:spPr>
          <a:xfrm>
            <a:off x="1444987" y="5331802"/>
            <a:ext cx="9422305" cy="668443"/>
          </a:xfrm>
          <a:prstGeom prst="rect">
            <a:avLst/>
          </a:prstGeom>
        </p:spPr>
        <p:txBody>
          <a:bodyPr tIns="0" bIns="0"/>
          <a:lstStyle>
            <a:lvl1pPr marL="0" indent="0" algn="l" defTabSz="914400" rtl="0" eaLnBrk="1" latinLnBrk="0" hangingPunct="1">
              <a:lnSpc>
                <a:spcPct val="150000"/>
              </a:lnSpc>
              <a:spcBef>
                <a:spcPts val="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Properly sized pumps – 6% of total energy use, $200/month, 15% utility incentives</a:t>
            </a:r>
          </a:p>
        </p:txBody>
      </p:sp>
    </p:spTree>
    <p:extLst>
      <p:ext uri="{BB962C8B-B14F-4D97-AF65-F5344CB8AC3E}">
        <p14:creationId xmlns:p14="http://schemas.microsoft.com/office/powerpoint/2010/main" val="4015848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F0878ED-8EC8-9F61-9EB5-6C2A580141F7}"/>
              </a:ext>
            </a:extLst>
          </p:cNvPr>
          <p:cNvPicPr>
            <a:picLocks noChangeAspect="1"/>
          </p:cNvPicPr>
          <p:nvPr/>
        </p:nvPicPr>
        <p:blipFill rotWithShape="1">
          <a:blip r:embed="rId3">
            <a:alphaModFix amt="35000"/>
          </a:blip>
          <a:srcRect t="26925" b="1490"/>
          <a:stretch/>
        </p:blipFill>
        <p:spPr>
          <a:xfrm>
            <a:off x="0" y="857755"/>
            <a:ext cx="12192000" cy="6000245"/>
          </a:xfrm>
          <a:prstGeom prst="rect">
            <a:avLst/>
          </a:prstGeom>
        </p:spPr>
      </p:pic>
      <p:sp>
        <p:nvSpPr>
          <p:cNvPr id="2" name="Content Placeholder 1">
            <a:extLst>
              <a:ext uri="{FF2B5EF4-FFF2-40B4-BE49-F238E27FC236}">
                <a16:creationId xmlns:a16="http://schemas.microsoft.com/office/drawing/2014/main" id="{95B3A424-511B-490F-8491-EE03FE206232}"/>
              </a:ext>
            </a:extLst>
          </p:cNvPr>
          <p:cNvSpPr>
            <a:spLocks noGrp="1"/>
          </p:cNvSpPr>
          <p:nvPr>
            <p:ph type="body" sz="quarter" idx="11"/>
          </p:nvPr>
        </p:nvSpPr>
        <p:spPr>
          <a:xfrm>
            <a:off x="1371599" y="1219200"/>
            <a:ext cx="8135815" cy="668443"/>
          </a:xfrm>
        </p:spPr>
        <p:txBody>
          <a:bodyPr/>
          <a:lstStyle/>
          <a:p>
            <a:pPr marL="0" indent="0">
              <a:buNone/>
            </a:pPr>
            <a:r>
              <a:rPr lang="en-US" b="1" dirty="0"/>
              <a:t>Village of Herrin WWTP</a:t>
            </a:r>
          </a:p>
        </p:txBody>
      </p:sp>
      <p:sp>
        <p:nvSpPr>
          <p:cNvPr id="3" name="Text Placeholder 2">
            <a:extLst>
              <a:ext uri="{FF2B5EF4-FFF2-40B4-BE49-F238E27FC236}">
                <a16:creationId xmlns:a16="http://schemas.microsoft.com/office/drawing/2014/main" id="{E20F4D2B-CF60-4E31-B8DA-9BC3E5CB294C}"/>
              </a:ext>
            </a:extLst>
          </p:cNvPr>
          <p:cNvSpPr>
            <a:spLocks noGrp="1"/>
          </p:cNvSpPr>
          <p:nvPr>
            <p:ph type="body" sz="quarter" idx="10"/>
          </p:nvPr>
        </p:nvSpPr>
        <p:spPr/>
        <p:txBody>
          <a:bodyPr/>
          <a:lstStyle/>
          <a:p>
            <a:r>
              <a:rPr lang="en-US" dirty="0"/>
              <a:t>Case Examples</a:t>
            </a:r>
          </a:p>
        </p:txBody>
      </p:sp>
      <p:sp>
        <p:nvSpPr>
          <p:cNvPr id="9" name="Content Placeholder 1">
            <a:extLst>
              <a:ext uri="{FF2B5EF4-FFF2-40B4-BE49-F238E27FC236}">
                <a16:creationId xmlns:a16="http://schemas.microsoft.com/office/drawing/2014/main" id="{3ABE7130-5C63-C3C6-2873-14E9A42ED3A0}"/>
              </a:ext>
            </a:extLst>
          </p:cNvPr>
          <p:cNvSpPr txBox="1">
            <a:spLocks/>
          </p:cNvSpPr>
          <p:nvPr/>
        </p:nvSpPr>
        <p:spPr>
          <a:xfrm>
            <a:off x="1444987" y="5331802"/>
            <a:ext cx="9422305" cy="668443"/>
          </a:xfrm>
          <a:prstGeom prst="rect">
            <a:avLst/>
          </a:prstGeom>
        </p:spPr>
        <p:txBody>
          <a:bodyPr tIns="0" bIns="0"/>
          <a:lstStyle>
            <a:lvl1pPr marL="0" indent="0" algn="l" defTabSz="914400" rtl="0" eaLnBrk="1" latinLnBrk="0" hangingPunct="1">
              <a:lnSpc>
                <a:spcPct val="150000"/>
              </a:lnSpc>
              <a:spcBef>
                <a:spcPts val="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Despite energy increasing by 18%, electric consumption dropped significantly - $13,000 in savings</a:t>
            </a:r>
          </a:p>
        </p:txBody>
      </p:sp>
      <p:pic>
        <p:nvPicPr>
          <p:cNvPr id="6" name="Picture 5">
            <a:extLst>
              <a:ext uri="{FF2B5EF4-FFF2-40B4-BE49-F238E27FC236}">
                <a16:creationId xmlns:a16="http://schemas.microsoft.com/office/drawing/2014/main" id="{C6ABBD06-3E4B-8EF7-BFE3-618BEDBE8C6B}"/>
              </a:ext>
            </a:extLst>
          </p:cNvPr>
          <p:cNvPicPr>
            <a:picLocks noChangeAspect="1"/>
          </p:cNvPicPr>
          <p:nvPr/>
        </p:nvPicPr>
        <p:blipFill>
          <a:blip r:embed="rId4"/>
          <a:stretch>
            <a:fillRect/>
          </a:stretch>
        </p:blipFill>
        <p:spPr>
          <a:xfrm>
            <a:off x="1590001" y="1738153"/>
            <a:ext cx="9132276" cy="1871569"/>
          </a:xfrm>
          <a:prstGeom prst="rect">
            <a:avLst/>
          </a:prstGeom>
        </p:spPr>
      </p:pic>
      <p:pic>
        <p:nvPicPr>
          <p:cNvPr id="10" name="Picture 9">
            <a:extLst>
              <a:ext uri="{FF2B5EF4-FFF2-40B4-BE49-F238E27FC236}">
                <a16:creationId xmlns:a16="http://schemas.microsoft.com/office/drawing/2014/main" id="{D82AE377-D71D-18BD-0050-6F87EA365113}"/>
              </a:ext>
            </a:extLst>
          </p:cNvPr>
          <p:cNvPicPr>
            <a:picLocks noChangeAspect="1"/>
          </p:cNvPicPr>
          <p:nvPr/>
        </p:nvPicPr>
        <p:blipFill>
          <a:blip r:embed="rId5"/>
          <a:stretch>
            <a:fillRect/>
          </a:stretch>
        </p:blipFill>
        <p:spPr>
          <a:xfrm>
            <a:off x="1842352" y="3731834"/>
            <a:ext cx="8099007" cy="1693754"/>
          </a:xfrm>
          <a:prstGeom prst="rect">
            <a:avLst/>
          </a:prstGeom>
        </p:spPr>
      </p:pic>
      <p:sp>
        <p:nvSpPr>
          <p:cNvPr id="11" name="Oval 10">
            <a:extLst>
              <a:ext uri="{FF2B5EF4-FFF2-40B4-BE49-F238E27FC236}">
                <a16:creationId xmlns:a16="http://schemas.microsoft.com/office/drawing/2014/main" id="{E06E8FA2-120A-E1D5-B623-9578EB04BF27}"/>
              </a:ext>
            </a:extLst>
          </p:cNvPr>
          <p:cNvSpPr/>
          <p:nvPr/>
        </p:nvSpPr>
        <p:spPr>
          <a:xfrm>
            <a:off x="1254369" y="2457723"/>
            <a:ext cx="2684585" cy="668443"/>
          </a:xfrm>
          <a:prstGeom prst="ellipse">
            <a:avLst/>
          </a:prstGeom>
          <a:no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97553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5288693" y="1088571"/>
            <a:ext cx="6681634" cy="4969329"/>
          </a:xfrm>
          <a:prstGeom prst="rect">
            <a:avLst/>
          </a:prstGeom>
        </p:spPr>
        <p:txBody>
          <a:bodyPr/>
          <a:lstStyle/>
          <a:p>
            <a:pPr algn="ctr"/>
            <a:r>
              <a:rPr lang="en-US" b="1" dirty="0">
                <a:latin typeface="Arial" panose="020B0604020202020204" pitchFamily="34" charset="0"/>
                <a:cs typeface="Arial" panose="020B0604020202020204" pitchFamily="34" charset="0"/>
              </a:rPr>
              <a:t>May 15, 2024</a:t>
            </a:r>
          </a:p>
          <a:p>
            <a:r>
              <a:rPr lang="en-US" sz="2000" u="sng" dirty="0">
                <a:latin typeface="Arial" panose="020B0604020202020204" pitchFamily="34" charset="0"/>
                <a:cs typeface="Arial" panose="020B0604020202020204" pitchFamily="34" charset="0"/>
              </a:rPr>
              <a:t>Field Day Announcement!</a:t>
            </a:r>
          </a:p>
          <a:p>
            <a:r>
              <a:rPr lang="en-US" sz="2000" u="sng" dirty="0">
                <a:latin typeface="Arial" panose="020B0604020202020204" pitchFamily="34" charset="0"/>
                <a:cs typeface="Arial" panose="020B0604020202020204" pitchFamily="34" charset="0"/>
              </a:rPr>
              <a:t>Tour of </a:t>
            </a:r>
            <a:r>
              <a:rPr lang="en-US" sz="2000" u="sng" dirty="0" err="1">
                <a:latin typeface="Arial" panose="020B0604020202020204" pitchFamily="34" charset="0"/>
                <a:cs typeface="Arial" panose="020B0604020202020204" pitchFamily="34" charset="0"/>
              </a:rPr>
              <a:t>Algaewheel</a:t>
            </a:r>
            <a:r>
              <a:rPr lang="en-US" sz="2000" u="sng" dirty="0">
                <a:latin typeface="Arial" panose="020B0604020202020204" pitchFamily="34" charset="0"/>
                <a:cs typeface="Arial" panose="020B0604020202020204" pitchFamily="34" charset="0"/>
              </a:rPr>
              <a:t> Process:</a:t>
            </a:r>
            <a:r>
              <a:rPr lang="en-US" sz="2000" dirty="0">
                <a:latin typeface="Arial" panose="020B0604020202020204" pitchFamily="34" charset="0"/>
                <a:cs typeface="Arial" panose="020B0604020202020204" pitchFamily="34" charset="0"/>
              </a:rPr>
              <a:t> D</a:t>
            </a:r>
            <a:r>
              <a:rPr lang="en-US" sz="2000" dirty="0"/>
              <a:t>istributed treatment system for </a:t>
            </a:r>
            <a:r>
              <a:rPr lang="en-US" sz="2000" dirty="0" err="1"/>
              <a:t>Bookwalter</a:t>
            </a:r>
            <a:r>
              <a:rPr lang="en-US" sz="2000" dirty="0"/>
              <a:t> Woods MHP near Gardner, IL</a:t>
            </a:r>
          </a:p>
          <a:p>
            <a:endParaRPr lang="en-US" sz="2000" b="1" dirty="0"/>
          </a:p>
          <a:p>
            <a:r>
              <a:rPr lang="en-US" sz="2000" b="1" u="sng" dirty="0"/>
              <a:t>Algal Treatment Processes Workshop: </a:t>
            </a:r>
            <a:r>
              <a:rPr lang="en-US" sz="2000" dirty="0"/>
              <a:t>Location TBD</a:t>
            </a:r>
          </a:p>
          <a:p>
            <a:pPr marL="342900" indent="-342900">
              <a:buFont typeface="Arial" panose="020B0604020202020204" pitchFamily="34" charset="0"/>
              <a:buChar char="•"/>
            </a:pPr>
            <a:r>
              <a:rPr lang="en-US" sz="2000" dirty="0"/>
              <a:t>Applications at distributed and central WWTPs</a:t>
            </a:r>
          </a:p>
          <a:p>
            <a:pPr marL="342900" indent="-342900">
              <a:buFont typeface="Arial" panose="020B0604020202020204" pitchFamily="34" charset="0"/>
              <a:buChar char="•"/>
            </a:pPr>
            <a:r>
              <a:rPr lang="en-US" sz="2000" dirty="0"/>
              <a:t>Benefits for nutrient removal and energy consumption</a:t>
            </a:r>
          </a:p>
          <a:p>
            <a:pPr marL="342900" indent="-342900">
              <a:buFont typeface="Arial" panose="020B0604020202020204" pitchFamily="34" charset="0"/>
              <a:buChar char="•"/>
            </a:pPr>
            <a:r>
              <a:rPr lang="en-US" sz="2000" dirty="0"/>
              <a:t>Side-stream income opportunities</a:t>
            </a:r>
          </a:p>
        </p:txBody>
      </p:sp>
      <p:sp>
        <p:nvSpPr>
          <p:cNvPr id="6" name="Text Placeholder 5"/>
          <p:cNvSpPr>
            <a:spLocks noGrp="1"/>
          </p:cNvSpPr>
          <p:nvPr>
            <p:ph type="body" sz="quarter" idx="10"/>
          </p:nvPr>
        </p:nvSpPr>
        <p:spPr>
          <a:prstGeom prst="rect">
            <a:avLst/>
          </a:prstGeom>
        </p:spPr>
        <p:txBody>
          <a:bodyPr/>
          <a:lstStyle/>
          <a:p>
            <a:r>
              <a:rPr lang="en-US" dirty="0">
                <a:latin typeface="Arial" panose="020B0604020202020204" pitchFamily="34" charset="0"/>
              </a:rPr>
              <a:t>Upcoming Field Day</a:t>
            </a:r>
          </a:p>
        </p:txBody>
      </p:sp>
      <p:pic>
        <p:nvPicPr>
          <p:cNvPr id="2" name="Picture 2">
            <a:extLst>
              <a:ext uri="{FF2B5EF4-FFF2-40B4-BE49-F238E27FC236}">
                <a16:creationId xmlns:a16="http://schemas.microsoft.com/office/drawing/2014/main" id="{983D89AA-36FD-954C-8803-5FF6E7C453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674" y="1791729"/>
            <a:ext cx="4868562" cy="3651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445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Page">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DAC Intro">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asic Title">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1">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ntent 2">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de Content">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EDAC Intro">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ntent 1">
  <a:themeElements>
    <a:clrScheme name="SEDAC Theme Color">
      <a:dk1>
        <a:srgbClr val="FFFFFF"/>
      </a:dk1>
      <a:lt1>
        <a:srgbClr val="344040"/>
      </a:lt1>
      <a:dk2>
        <a:srgbClr val="ED493F"/>
      </a:dk2>
      <a:lt2>
        <a:srgbClr val="3C7E7D"/>
      </a:lt2>
      <a:accent1>
        <a:srgbClr val="344040"/>
      </a:accent1>
      <a:accent2>
        <a:srgbClr val="3C7E7D"/>
      </a:accent2>
      <a:accent3>
        <a:srgbClr val="2E605F"/>
      </a:accent3>
      <a:accent4>
        <a:srgbClr val="E79108"/>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Kamstrup Public Template">
  <a:themeElements>
    <a:clrScheme name="KAMSTRUP">
      <a:dk1>
        <a:srgbClr val="000000"/>
      </a:dk1>
      <a:lt1>
        <a:srgbClr val="FFFFFF"/>
      </a:lt1>
      <a:dk2>
        <a:srgbClr val="56565A"/>
      </a:dk2>
      <a:lt2>
        <a:srgbClr val="BBBCBC"/>
      </a:lt2>
      <a:accent1>
        <a:srgbClr val="009CA6"/>
      </a:accent1>
      <a:accent2>
        <a:srgbClr val="4CBAC1"/>
      </a:accent2>
      <a:accent3>
        <a:srgbClr val="7FCDD2"/>
      </a:accent3>
      <a:accent4>
        <a:srgbClr val="B2E1E4"/>
      </a:accent4>
      <a:accent5>
        <a:srgbClr val="E5F5F6"/>
      </a:accent5>
      <a:accent6>
        <a:srgbClr val="E5E5E5"/>
      </a:accent6>
      <a:hlink>
        <a:srgbClr val="009CA6"/>
      </a:hlink>
      <a:folHlink>
        <a:srgbClr val="009CA6"/>
      </a:folHlink>
    </a:clrScheme>
    <a:fontScheme name="KAMSTRUP">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amstrup_ppt_Template" id="{4C9B9769-6165-49B9-96F2-A6628B9C2301}" vid="{CCBBC829-61A3-48D7-AAC0-C1364AA2A3AE}"/>
    </a:ext>
  </a:extLst>
</a:theme>
</file>

<file path=docProps/app.xml><?xml version="1.0" encoding="utf-8"?>
<Properties xmlns="http://schemas.openxmlformats.org/officeDocument/2006/extended-properties" xmlns:vt="http://schemas.openxmlformats.org/officeDocument/2006/docPropsVTypes">
  <Template/>
  <TotalTime>8818</TotalTime>
  <Words>702</Words>
  <Application>Microsoft Office PowerPoint</Application>
  <PresentationFormat>Widescreen</PresentationFormat>
  <Paragraphs>100</Paragraphs>
  <Slides>13</Slides>
  <Notes>7</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13</vt:i4>
      </vt:variant>
    </vt:vector>
  </HeadingPairs>
  <TitlesOfParts>
    <vt:vector size="28" baseType="lpstr">
      <vt:lpstr>Arial</vt:lpstr>
      <vt:lpstr>Calibri</vt:lpstr>
      <vt:lpstr>Calibri Light</vt:lpstr>
      <vt:lpstr>Trebuchet MS</vt:lpstr>
      <vt:lpstr>Wingdings</vt:lpstr>
      <vt:lpstr>Cover Page</vt:lpstr>
      <vt:lpstr>SEDAC Intro</vt:lpstr>
      <vt:lpstr>Basic Title</vt:lpstr>
      <vt:lpstr>Content 1</vt:lpstr>
      <vt:lpstr>Content 2</vt:lpstr>
      <vt:lpstr>Code Content</vt:lpstr>
      <vt:lpstr>1_SEDAC Intro</vt:lpstr>
      <vt:lpstr>1_Content 1</vt:lpstr>
      <vt:lpstr>Kamstrup Public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versity of Illino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ng, Lixian</dc:creator>
  <cp:lastModifiedBy>Bunch, Beverly</cp:lastModifiedBy>
  <cp:revision>226</cp:revision>
  <dcterms:created xsi:type="dcterms:W3CDTF">2019-08-30T16:30:20Z</dcterms:created>
  <dcterms:modified xsi:type="dcterms:W3CDTF">2024-04-18T20:02:35Z</dcterms:modified>
</cp:coreProperties>
</file>